
<file path=[Content_Types].xml><?xml version="1.0" encoding="utf-8"?>
<Types xmlns="http://schemas.openxmlformats.org/package/2006/content-types">
  <Default Extension="bin" ContentType="application/vnd.openxmlformats-officedocument.oleObject"/>
  <Default Extension="bmp" ContentType="image/bmp"/>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notesSlides/notesSlide1.xml" ContentType="application/vnd.openxmlformats-officedocument.presentationml.notesSlide+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97" r:id="rId4"/>
    <p:sldMasterId id="2147483926" r:id="rId5"/>
  </p:sldMasterIdLst>
  <p:notesMasterIdLst>
    <p:notesMasterId r:id="rId51"/>
  </p:notesMasterIdLst>
  <p:handoutMasterIdLst>
    <p:handoutMasterId r:id="rId52"/>
  </p:handoutMasterIdLst>
  <p:sldIdLst>
    <p:sldId id="2147470966" r:id="rId6"/>
    <p:sldId id="2147471065" r:id="rId7"/>
    <p:sldId id="2147471034" r:id="rId8"/>
    <p:sldId id="2147471193" r:id="rId9"/>
    <p:sldId id="2147471194" r:id="rId10"/>
    <p:sldId id="2147471195" r:id="rId11"/>
    <p:sldId id="2147471196" r:id="rId12"/>
    <p:sldId id="2147471197" r:id="rId13"/>
    <p:sldId id="2147471231" r:id="rId14"/>
    <p:sldId id="2147471199" r:id="rId15"/>
    <p:sldId id="2147471200" r:id="rId16"/>
    <p:sldId id="2147471201" r:id="rId17"/>
    <p:sldId id="2147471202" r:id="rId18"/>
    <p:sldId id="2147471203" r:id="rId19"/>
    <p:sldId id="2147471204" r:id="rId20"/>
    <p:sldId id="2147471205" r:id="rId21"/>
    <p:sldId id="2147471206" r:id="rId22"/>
    <p:sldId id="2147471207" r:id="rId23"/>
    <p:sldId id="2147471208" r:id="rId24"/>
    <p:sldId id="2147471209" r:id="rId25"/>
    <p:sldId id="2147471210" r:id="rId26"/>
    <p:sldId id="2147471211" r:id="rId27"/>
    <p:sldId id="2147471212" r:id="rId28"/>
    <p:sldId id="2147471213" r:id="rId29"/>
    <p:sldId id="2147471214" r:id="rId30"/>
    <p:sldId id="2147471215" r:id="rId31"/>
    <p:sldId id="2147471216" r:id="rId32"/>
    <p:sldId id="2147471189" r:id="rId33"/>
    <p:sldId id="2147471217" r:id="rId34"/>
    <p:sldId id="2147471218" r:id="rId35"/>
    <p:sldId id="2147471219" r:id="rId36"/>
    <p:sldId id="2147471220" r:id="rId37"/>
    <p:sldId id="2147471221" r:id="rId38"/>
    <p:sldId id="2147471222" r:id="rId39"/>
    <p:sldId id="2147471223" r:id="rId40"/>
    <p:sldId id="2147471224" r:id="rId41"/>
    <p:sldId id="2147471225" r:id="rId42"/>
    <p:sldId id="2147471226" r:id="rId43"/>
    <p:sldId id="2147471227" r:id="rId44"/>
    <p:sldId id="2147471228" r:id="rId45"/>
    <p:sldId id="2147471229" r:id="rId46"/>
    <p:sldId id="2147471230" r:id="rId47"/>
    <p:sldId id="2147471190" r:id="rId48"/>
    <p:sldId id="2147471191" r:id="rId49"/>
    <p:sldId id="2147471192" r:id="rId50"/>
  </p:sldIdLst>
  <p:sldSz cx="12192000" cy="6858000"/>
  <p:notesSz cx="7102475" cy="9388475"/>
  <p:custDataLst>
    <p:tags r:id="rId5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 id="2" name="BROOKS, Donald Joseph" initials="BDJ" lastIdx="5" clrIdx="1">
    <p:extLst>
      <p:ext uri="{19B8F6BF-5375-455C-9EA6-DF929625EA0E}">
        <p15:presenceInfo xmlns:p15="http://schemas.microsoft.com/office/powerpoint/2012/main" userId="S::brooksd@who.int::b69303fd-0a75-4bc6-911c-b12e1b8025b9" providerId="AD"/>
      </p:ext>
    </p:extLst>
  </p:cmAuthor>
  <p:cmAuthor id="3" name="PANLILIO, Jose Rafael" initials="PJR" lastIdx="1" clrIdx="2">
    <p:extLst>
      <p:ext uri="{19B8F6BF-5375-455C-9EA6-DF929625EA0E}">
        <p15:presenceInfo xmlns:p15="http://schemas.microsoft.com/office/powerpoint/2012/main" userId="PANLILIO, Jose Rafael"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E7E2"/>
    <a:srgbClr val="EFE3DD"/>
    <a:srgbClr val="D5D5D5"/>
    <a:srgbClr val="A7A7A7"/>
    <a:srgbClr val="E91F50"/>
    <a:srgbClr val="A1A1A1"/>
    <a:srgbClr val="C3C3C3"/>
    <a:srgbClr val="9F9F9F"/>
    <a:srgbClr val="E6D2C8"/>
    <a:srgbClr val="8000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2B13E2D-1F2B-4E74-BE73-595360CA100B}" v="307" dt="2022-11-10T20:39:28.53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05" autoAdjust="0"/>
    <p:restoredTop sz="93175" autoAdjust="0"/>
  </p:normalViewPr>
  <p:slideViewPr>
    <p:cSldViewPr snapToGrid="0">
      <p:cViewPr varScale="1">
        <p:scale>
          <a:sx n="90" d="100"/>
          <a:sy n="90" d="100"/>
        </p:scale>
        <p:origin x="87" y="387"/>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presProps" Target="pres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ags" Target="tags/tag1.xml"/><Relationship Id="rId58" Type="http://schemas.openxmlformats.org/officeDocument/2006/relationships/tableStyles" Target="tableStyles.xml"/><Relationship Id="rId5" Type="http://schemas.openxmlformats.org/officeDocument/2006/relationships/slideMaster" Target="slideMasters/slideMaster2.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microsoft.com/office/2015/10/relationships/revisionInfo" Target="revisionInfo.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theme" Target="theme/theme1.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11 November 2022</a:t>
            </a:fld>
            <a:endParaRPr lang="en-US"/>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11 November 2022</a:t>
            </a:fld>
            <a:endParaRPr lang="en-US"/>
          </a:p>
        </p:txBody>
      </p:sp>
      <p:sp>
        <p:nvSpPr>
          <p:cNvPr id="4" name="Slide Image Placeholder 3"/>
          <p:cNvSpPr>
            <a:spLocks noGrp="1" noRot="1" noChangeAspect="1"/>
          </p:cNvSpPr>
          <p:nvPr>
            <p:ph type="sldImg" idx="2"/>
          </p:nvPr>
        </p:nvSpPr>
        <p:spPr>
          <a:xfrm>
            <a:off x="735012"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35012" y="4518025"/>
            <a:ext cx="5632450" cy="1000274"/>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 November 202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1" name="Slide Image Placeholder 50">
            <a:extLst>
              <a:ext uri="{FF2B5EF4-FFF2-40B4-BE49-F238E27FC236}">
                <a16:creationId xmlns:a16="http://schemas.microsoft.com/office/drawing/2014/main" id="{DCE3710F-2356-44F5-A47E-3DFCE8CD483E}"/>
              </a:ext>
            </a:extLst>
          </p:cNvPr>
          <p:cNvSpPr>
            <a:spLocks noGrp="1" noRot="1" noChangeAspect="1"/>
          </p:cNvSpPr>
          <p:nvPr>
            <p:ph type="sldImg"/>
          </p:nvPr>
        </p:nvSpPr>
        <p:spPr>
          <a:xfrm>
            <a:off x="735013" y="563563"/>
            <a:ext cx="5632450" cy="3168650"/>
          </a:xfrm>
        </p:spPr>
      </p:sp>
      <p:sp>
        <p:nvSpPr>
          <p:cNvPr id="2" name="Notes Placeholder 1">
            <a:extLst>
              <a:ext uri="{FF2B5EF4-FFF2-40B4-BE49-F238E27FC236}">
                <a16:creationId xmlns:a16="http://schemas.microsoft.com/office/drawing/2014/main" id="{4930D93E-4353-CFF5-E2DD-B22792E8B7FB}"/>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88718682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4.xml"/><Relationship Id="rId7" Type="http://schemas.openxmlformats.org/officeDocument/2006/relationships/oleObject" Target="../embeddings/oleObject2.bin"/><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90.xml"/><Relationship Id="rId3" Type="http://schemas.openxmlformats.org/officeDocument/2006/relationships/tags" Target="../tags/tag85.xml"/><Relationship Id="rId7" Type="http://schemas.openxmlformats.org/officeDocument/2006/relationships/tags" Target="../tags/tag89.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tags" Target="../tags/tag88.xml"/><Relationship Id="rId11" Type="http://schemas.openxmlformats.org/officeDocument/2006/relationships/image" Target="../media/image3.emf"/><Relationship Id="rId5" Type="http://schemas.openxmlformats.org/officeDocument/2006/relationships/tags" Target="../tags/tag87.xml"/><Relationship Id="rId10" Type="http://schemas.openxmlformats.org/officeDocument/2006/relationships/oleObject" Target="../embeddings/oleObject11.bin"/><Relationship Id="rId4" Type="http://schemas.openxmlformats.org/officeDocument/2006/relationships/tags" Target="../tags/tag86.xml"/><Relationship Id="rId9"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8.xml"/><Relationship Id="rId3" Type="http://schemas.openxmlformats.org/officeDocument/2006/relationships/tags" Target="../tags/tag93.xml"/><Relationship Id="rId7" Type="http://schemas.openxmlformats.org/officeDocument/2006/relationships/tags" Target="../tags/tag97.xml"/><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tags" Target="../tags/tag96.xml"/><Relationship Id="rId11" Type="http://schemas.openxmlformats.org/officeDocument/2006/relationships/image" Target="../media/image1.emf"/><Relationship Id="rId5" Type="http://schemas.openxmlformats.org/officeDocument/2006/relationships/tags" Target="../tags/tag95.xml"/><Relationship Id="rId10" Type="http://schemas.openxmlformats.org/officeDocument/2006/relationships/oleObject" Target="../embeddings/oleObject12.bin"/><Relationship Id="rId4" Type="http://schemas.openxmlformats.org/officeDocument/2006/relationships/tags" Target="../tags/tag94.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01.xml"/><Relationship Id="rId7" Type="http://schemas.openxmlformats.org/officeDocument/2006/relationships/slideMaster" Target="../slideMasters/slideMaster1.xml"/><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tags" Target="../tags/tag104.xml"/><Relationship Id="rId5" Type="http://schemas.openxmlformats.org/officeDocument/2006/relationships/tags" Target="../tags/tag103.xml"/><Relationship Id="rId4" Type="http://schemas.openxmlformats.org/officeDocument/2006/relationships/tags" Target="../tags/tag102.xml"/><Relationship Id="rId9"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07.xml"/><Relationship Id="rId7" Type="http://schemas.openxmlformats.org/officeDocument/2006/relationships/image" Target="../media/image2.emf"/><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oleObject" Target="../embeddings/oleObject14.bin"/><Relationship Id="rId5" Type="http://schemas.openxmlformats.org/officeDocument/2006/relationships/slideMaster" Target="../slideMasters/slideMaster1.xml"/><Relationship Id="rId4" Type="http://schemas.openxmlformats.org/officeDocument/2006/relationships/tags" Target="../tags/tag108.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0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1.xml"/><Relationship Id="rId1" Type="http://schemas.openxmlformats.org/officeDocument/2006/relationships/tags" Target="../tags/tag110.xml"/><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12.xml"/><Relationship Id="rId4" Type="http://schemas.openxmlformats.org/officeDocument/2006/relationships/image" Target="../media/image5.emf"/></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4.xml"/><Relationship Id="rId1" Type="http://schemas.openxmlformats.org/officeDocument/2006/relationships/tags" Target="../tags/tag113.xml"/><Relationship Id="rId5" Type="http://schemas.openxmlformats.org/officeDocument/2006/relationships/image" Target="../media/image4.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6.xml"/><Relationship Id="rId1" Type="http://schemas.openxmlformats.org/officeDocument/2006/relationships/tags" Target="../tags/tag115.xml"/><Relationship Id="rId5" Type="http://schemas.openxmlformats.org/officeDocument/2006/relationships/image" Target="../media/image4.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image" Target="../media/image4.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0.xml"/><Relationship Id="rId1" Type="http://schemas.openxmlformats.org/officeDocument/2006/relationships/tags" Target="../tags/tag119.xml"/><Relationship Id="rId5" Type="http://schemas.openxmlformats.org/officeDocument/2006/relationships/image" Target="../media/image4.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2.xml"/><Relationship Id="rId1" Type="http://schemas.openxmlformats.org/officeDocument/2006/relationships/tags" Target="../tags/tag121.xml"/><Relationship Id="rId5" Type="http://schemas.openxmlformats.org/officeDocument/2006/relationships/image" Target="../media/image4.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4.xml"/><Relationship Id="rId1" Type="http://schemas.openxmlformats.org/officeDocument/2006/relationships/tags" Target="../tags/tag123.xml"/><Relationship Id="rId5" Type="http://schemas.openxmlformats.org/officeDocument/2006/relationships/image" Target="../media/image4.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47.xml"/><Relationship Id="rId7" Type="http://schemas.openxmlformats.org/officeDocument/2006/relationships/oleObject" Target="../embeddings/oleObject25.bin"/><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slideMaster" Target="../slideMasters/slideMaster2.xml"/><Relationship Id="rId5" Type="http://schemas.openxmlformats.org/officeDocument/2006/relationships/tags" Target="../tags/tag149.xml"/><Relationship Id="rId4" Type="http://schemas.openxmlformats.org/officeDocument/2006/relationships/tags" Target="../tags/tag148.xml"/><Relationship Id="rId9" Type="http://schemas.openxmlformats.org/officeDocument/2006/relationships/image" Target="../media/image6.emf"/></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52.xml"/><Relationship Id="rId7" Type="http://schemas.openxmlformats.org/officeDocument/2006/relationships/tags" Target="../tags/tag156.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tags" Target="../tags/tag155.xml"/><Relationship Id="rId5" Type="http://schemas.openxmlformats.org/officeDocument/2006/relationships/tags" Target="../tags/tag154.xml"/><Relationship Id="rId10" Type="http://schemas.openxmlformats.org/officeDocument/2006/relationships/image" Target="../media/image1.emf"/><Relationship Id="rId4" Type="http://schemas.openxmlformats.org/officeDocument/2006/relationships/tags" Target="../tags/tag153.xml"/><Relationship Id="rId9" Type="http://schemas.openxmlformats.org/officeDocument/2006/relationships/oleObject" Target="../embeddings/oleObject26.bin"/></Relationships>
</file>

<file path=ppt/slideLayouts/_rels/slideLayout27.xml.rels><?xml version="1.0" encoding="UTF-8" standalone="yes"?>
<Relationships xmlns="http://schemas.openxmlformats.org/package/2006/relationships"><Relationship Id="rId8" Type="http://schemas.openxmlformats.org/officeDocument/2006/relationships/oleObject" Target="../embeddings/oleObject27.bin"/><Relationship Id="rId3" Type="http://schemas.openxmlformats.org/officeDocument/2006/relationships/tags" Target="../tags/tag159.xml"/><Relationship Id="rId7" Type="http://schemas.openxmlformats.org/officeDocument/2006/relationships/slideMaster" Target="../slideMasters/slideMaster2.xml"/><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tags" Target="../tags/tag162.xml"/><Relationship Id="rId5" Type="http://schemas.openxmlformats.org/officeDocument/2006/relationships/tags" Target="../tags/tag161.xml"/><Relationship Id="rId4" Type="http://schemas.openxmlformats.org/officeDocument/2006/relationships/tags" Target="../tags/tag160.xml"/><Relationship Id="rId9"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165.xml"/><Relationship Id="rId7" Type="http://schemas.openxmlformats.org/officeDocument/2006/relationships/slideMaster" Target="../slideMasters/slideMaster2.xml"/><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tags" Target="../tags/tag168.xml"/><Relationship Id="rId5" Type="http://schemas.openxmlformats.org/officeDocument/2006/relationships/tags" Target="../tags/tag167.xml"/><Relationship Id="rId4" Type="http://schemas.openxmlformats.org/officeDocument/2006/relationships/tags" Target="../tags/tag166.xml"/><Relationship Id="rId9"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tags" Target="../tags/tag171.xml"/><Relationship Id="rId7" Type="http://schemas.openxmlformats.org/officeDocument/2006/relationships/slideMaster" Target="../slideMasters/slideMaster2.xml"/><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tags" Target="../tags/tag174.xml"/><Relationship Id="rId5" Type="http://schemas.openxmlformats.org/officeDocument/2006/relationships/tags" Target="../tags/tag173.xml"/><Relationship Id="rId4" Type="http://schemas.openxmlformats.org/officeDocument/2006/relationships/tags" Target="../tags/tag172.xml"/><Relationship Id="rId9"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6.xml"/><Relationship Id="rId7"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5" Type="http://schemas.openxmlformats.org/officeDocument/2006/relationships/tags" Target="../tags/tag38.xml"/><Relationship Id="rId4" Type="http://schemas.openxmlformats.org/officeDocument/2006/relationships/tags" Target="../tags/tag37.xml"/><Relationship Id="rId9" Type="http://schemas.openxmlformats.org/officeDocument/2006/relationships/image" Target="../media/image2.emf"/></Relationships>
</file>

<file path=ppt/slideLayouts/_rels/slideLayout3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77.xml"/><Relationship Id="rId7" Type="http://schemas.openxmlformats.org/officeDocument/2006/relationships/tags" Target="../tags/tag181.xml"/><Relationship Id="rId2" Type="http://schemas.openxmlformats.org/officeDocument/2006/relationships/tags" Target="../tags/tag176.xml"/><Relationship Id="rId1" Type="http://schemas.openxmlformats.org/officeDocument/2006/relationships/tags" Target="../tags/tag175.xml"/><Relationship Id="rId6" Type="http://schemas.openxmlformats.org/officeDocument/2006/relationships/tags" Target="../tags/tag180.xml"/><Relationship Id="rId5" Type="http://schemas.openxmlformats.org/officeDocument/2006/relationships/tags" Target="../tags/tag179.xml"/><Relationship Id="rId10" Type="http://schemas.openxmlformats.org/officeDocument/2006/relationships/image" Target="../media/image2.emf"/><Relationship Id="rId4" Type="http://schemas.openxmlformats.org/officeDocument/2006/relationships/tags" Target="../tags/tag178.xml"/><Relationship Id="rId9" Type="http://schemas.openxmlformats.org/officeDocument/2006/relationships/oleObject" Target="../embeddings/oleObject30.bin"/></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189.xml"/><Relationship Id="rId3" Type="http://schemas.openxmlformats.org/officeDocument/2006/relationships/tags" Target="../tags/tag184.xml"/><Relationship Id="rId7" Type="http://schemas.openxmlformats.org/officeDocument/2006/relationships/tags" Target="../tags/tag188.xml"/><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tags" Target="../tags/tag187.xml"/><Relationship Id="rId11" Type="http://schemas.openxmlformats.org/officeDocument/2006/relationships/image" Target="../media/image1.emf"/><Relationship Id="rId5" Type="http://schemas.openxmlformats.org/officeDocument/2006/relationships/tags" Target="../tags/tag186.xml"/><Relationship Id="rId10" Type="http://schemas.openxmlformats.org/officeDocument/2006/relationships/oleObject" Target="../embeddings/oleObject31.bin"/><Relationship Id="rId4" Type="http://schemas.openxmlformats.org/officeDocument/2006/relationships/tags" Target="../tags/tag185.xml"/><Relationship Id="rId9"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97.xml"/><Relationship Id="rId3" Type="http://schemas.openxmlformats.org/officeDocument/2006/relationships/tags" Target="../tags/tag192.xml"/><Relationship Id="rId7" Type="http://schemas.openxmlformats.org/officeDocument/2006/relationships/tags" Target="../tags/tag196.xml"/><Relationship Id="rId2" Type="http://schemas.openxmlformats.org/officeDocument/2006/relationships/tags" Target="../tags/tag191.xml"/><Relationship Id="rId1" Type="http://schemas.openxmlformats.org/officeDocument/2006/relationships/tags" Target="../tags/tag190.xml"/><Relationship Id="rId6" Type="http://schemas.openxmlformats.org/officeDocument/2006/relationships/tags" Target="../tags/tag195.xml"/><Relationship Id="rId11" Type="http://schemas.openxmlformats.org/officeDocument/2006/relationships/image" Target="../media/image1.emf"/><Relationship Id="rId5" Type="http://schemas.openxmlformats.org/officeDocument/2006/relationships/tags" Target="../tags/tag194.xml"/><Relationship Id="rId10" Type="http://schemas.openxmlformats.org/officeDocument/2006/relationships/oleObject" Target="../embeddings/oleObject32.bin"/><Relationship Id="rId4" Type="http://schemas.openxmlformats.org/officeDocument/2006/relationships/tags" Target="../tags/tag193.xml"/><Relationship Id="rId9"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205.xml"/><Relationship Id="rId3" Type="http://schemas.openxmlformats.org/officeDocument/2006/relationships/tags" Target="../tags/tag200.xml"/><Relationship Id="rId7" Type="http://schemas.openxmlformats.org/officeDocument/2006/relationships/tags" Target="../tags/tag204.xml"/><Relationship Id="rId2" Type="http://schemas.openxmlformats.org/officeDocument/2006/relationships/tags" Target="../tags/tag199.xml"/><Relationship Id="rId1" Type="http://schemas.openxmlformats.org/officeDocument/2006/relationships/tags" Target="../tags/tag198.xml"/><Relationship Id="rId6" Type="http://schemas.openxmlformats.org/officeDocument/2006/relationships/tags" Target="../tags/tag203.xml"/><Relationship Id="rId11" Type="http://schemas.openxmlformats.org/officeDocument/2006/relationships/image" Target="../media/image1.emf"/><Relationship Id="rId5" Type="http://schemas.openxmlformats.org/officeDocument/2006/relationships/tags" Target="../tags/tag202.xml"/><Relationship Id="rId10" Type="http://schemas.openxmlformats.org/officeDocument/2006/relationships/oleObject" Target="../embeddings/oleObject33.bin"/><Relationship Id="rId4" Type="http://schemas.openxmlformats.org/officeDocument/2006/relationships/tags" Target="../tags/tag201.xml"/><Relationship Id="rId9"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213.xml"/><Relationship Id="rId3" Type="http://schemas.openxmlformats.org/officeDocument/2006/relationships/tags" Target="../tags/tag208.xml"/><Relationship Id="rId7" Type="http://schemas.openxmlformats.org/officeDocument/2006/relationships/tags" Target="../tags/tag212.xml"/><Relationship Id="rId2" Type="http://schemas.openxmlformats.org/officeDocument/2006/relationships/tags" Target="../tags/tag207.xml"/><Relationship Id="rId1" Type="http://schemas.openxmlformats.org/officeDocument/2006/relationships/tags" Target="../tags/tag206.xml"/><Relationship Id="rId6" Type="http://schemas.openxmlformats.org/officeDocument/2006/relationships/tags" Target="../tags/tag211.xml"/><Relationship Id="rId11" Type="http://schemas.openxmlformats.org/officeDocument/2006/relationships/image" Target="../media/image3.emf"/><Relationship Id="rId5" Type="http://schemas.openxmlformats.org/officeDocument/2006/relationships/tags" Target="../tags/tag210.xml"/><Relationship Id="rId10" Type="http://schemas.openxmlformats.org/officeDocument/2006/relationships/oleObject" Target="../embeddings/oleObject34.bin"/><Relationship Id="rId4" Type="http://schemas.openxmlformats.org/officeDocument/2006/relationships/tags" Target="../tags/tag209.xml"/><Relationship Id="rId9"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221.xml"/><Relationship Id="rId3" Type="http://schemas.openxmlformats.org/officeDocument/2006/relationships/tags" Target="../tags/tag216.xml"/><Relationship Id="rId7" Type="http://schemas.openxmlformats.org/officeDocument/2006/relationships/tags" Target="../tags/tag220.xml"/><Relationship Id="rId2" Type="http://schemas.openxmlformats.org/officeDocument/2006/relationships/tags" Target="../tags/tag215.xml"/><Relationship Id="rId1" Type="http://schemas.openxmlformats.org/officeDocument/2006/relationships/tags" Target="../tags/tag214.xml"/><Relationship Id="rId6" Type="http://schemas.openxmlformats.org/officeDocument/2006/relationships/tags" Target="../tags/tag219.xml"/><Relationship Id="rId11" Type="http://schemas.openxmlformats.org/officeDocument/2006/relationships/image" Target="../media/image1.emf"/><Relationship Id="rId5" Type="http://schemas.openxmlformats.org/officeDocument/2006/relationships/tags" Target="../tags/tag218.xml"/><Relationship Id="rId10" Type="http://schemas.openxmlformats.org/officeDocument/2006/relationships/oleObject" Target="../embeddings/oleObject35.bin"/><Relationship Id="rId4" Type="http://schemas.openxmlformats.org/officeDocument/2006/relationships/tags" Target="../tags/tag217.xml"/><Relationship Id="rId9"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8" Type="http://schemas.openxmlformats.org/officeDocument/2006/relationships/oleObject" Target="../embeddings/oleObject36.bin"/><Relationship Id="rId3" Type="http://schemas.openxmlformats.org/officeDocument/2006/relationships/tags" Target="../tags/tag224.xml"/><Relationship Id="rId7" Type="http://schemas.openxmlformats.org/officeDocument/2006/relationships/slideMaster" Target="../slideMasters/slideMaster2.xml"/><Relationship Id="rId2" Type="http://schemas.openxmlformats.org/officeDocument/2006/relationships/tags" Target="../tags/tag223.xml"/><Relationship Id="rId1" Type="http://schemas.openxmlformats.org/officeDocument/2006/relationships/tags" Target="../tags/tag222.xml"/><Relationship Id="rId6" Type="http://schemas.openxmlformats.org/officeDocument/2006/relationships/tags" Target="../tags/tag227.xml"/><Relationship Id="rId5" Type="http://schemas.openxmlformats.org/officeDocument/2006/relationships/tags" Target="../tags/tag226.xml"/><Relationship Id="rId4" Type="http://schemas.openxmlformats.org/officeDocument/2006/relationships/tags" Target="../tags/tag225.xml"/><Relationship Id="rId9" Type="http://schemas.openxmlformats.org/officeDocument/2006/relationships/image" Target="../media/image2.emf"/></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230.xml"/><Relationship Id="rId7" Type="http://schemas.openxmlformats.org/officeDocument/2006/relationships/image" Target="../media/image2.emf"/><Relationship Id="rId2" Type="http://schemas.openxmlformats.org/officeDocument/2006/relationships/tags" Target="../tags/tag229.xml"/><Relationship Id="rId1" Type="http://schemas.openxmlformats.org/officeDocument/2006/relationships/tags" Target="../tags/tag228.xml"/><Relationship Id="rId6" Type="http://schemas.openxmlformats.org/officeDocument/2006/relationships/oleObject" Target="../embeddings/oleObject37.bin"/><Relationship Id="rId5" Type="http://schemas.openxmlformats.org/officeDocument/2006/relationships/slideMaster" Target="../slideMasters/slideMaster2.xml"/><Relationship Id="rId4" Type="http://schemas.openxmlformats.org/officeDocument/2006/relationships/tags" Target="../tags/tag231.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232.xml"/><Relationship Id="rId5" Type="http://schemas.openxmlformats.org/officeDocument/2006/relationships/image" Target="../media/image6.emf"/><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233.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2.xml"/><Relationship Id="rId7"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5" Type="http://schemas.openxmlformats.org/officeDocument/2006/relationships/tags" Target="../tags/tag44.xml"/><Relationship Id="rId4" Type="http://schemas.openxmlformats.org/officeDocument/2006/relationships/tags" Target="../tags/tag43.xml"/><Relationship Id="rId9" Type="http://schemas.openxmlformats.org/officeDocument/2006/relationships/image" Target="../media/image2.emf"/></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5.xml"/><Relationship Id="rId1" Type="http://schemas.openxmlformats.org/officeDocument/2006/relationships/tags" Target="../tags/tag234.xml"/><Relationship Id="rId5" Type="http://schemas.openxmlformats.org/officeDocument/2006/relationships/image" Target="../media/image4.emf"/><Relationship Id="rId4" Type="http://schemas.openxmlformats.org/officeDocument/2006/relationships/oleObject" Target="../embeddings/oleObject40.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7.xml"/><Relationship Id="rId1" Type="http://schemas.openxmlformats.org/officeDocument/2006/relationships/tags" Target="../tags/tag236.xml"/><Relationship Id="rId5" Type="http://schemas.openxmlformats.org/officeDocument/2006/relationships/image" Target="../media/image4.emf"/><Relationship Id="rId4" Type="http://schemas.openxmlformats.org/officeDocument/2006/relationships/oleObject" Target="../embeddings/oleObject41.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9.xml"/><Relationship Id="rId1" Type="http://schemas.openxmlformats.org/officeDocument/2006/relationships/tags" Target="../tags/tag238.xml"/><Relationship Id="rId5" Type="http://schemas.openxmlformats.org/officeDocument/2006/relationships/image" Target="../media/image4.emf"/><Relationship Id="rId4" Type="http://schemas.openxmlformats.org/officeDocument/2006/relationships/oleObject" Target="../embeddings/oleObject42.bin"/></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8.xml"/><Relationship Id="rId7"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tags" Target="../tags/tag57.xml"/><Relationship Id="rId5" Type="http://schemas.openxmlformats.org/officeDocument/2006/relationships/tags" Target="../tags/tag56.xml"/><Relationship Id="rId10" Type="http://schemas.openxmlformats.org/officeDocument/2006/relationships/image" Target="../media/image2.emf"/><Relationship Id="rId4" Type="http://schemas.openxmlformats.org/officeDocument/2006/relationships/tags" Target="../tags/tag55.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tags" Target="../tags/tag61.xml"/><Relationship Id="rId7" Type="http://schemas.openxmlformats.org/officeDocument/2006/relationships/tags" Target="../tags/tag65.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image" Target="../media/image1.emf"/><Relationship Id="rId5" Type="http://schemas.openxmlformats.org/officeDocument/2006/relationships/tags" Target="../tags/tag63.xml"/><Relationship Id="rId10" Type="http://schemas.openxmlformats.org/officeDocument/2006/relationships/oleObject" Target="../embeddings/oleObject8.bin"/><Relationship Id="rId4" Type="http://schemas.openxmlformats.org/officeDocument/2006/relationships/tags" Target="../tags/tag62.xml"/><Relationship Id="rId9"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4.xml"/><Relationship Id="rId3" Type="http://schemas.openxmlformats.org/officeDocument/2006/relationships/tags" Target="../tags/tag69.xml"/><Relationship Id="rId7" Type="http://schemas.openxmlformats.org/officeDocument/2006/relationships/tags" Target="../tags/tag73.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image" Target="../media/image1.emf"/><Relationship Id="rId5" Type="http://schemas.openxmlformats.org/officeDocument/2006/relationships/tags" Target="../tags/tag71.xml"/><Relationship Id="rId10" Type="http://schemas.openxmlformats.org/officeDocument/2006/relationships/oleObject" Target="../embeddings/oleObject9.bin"/><Relationship Id="rId4" Type="http://schemas.openxmlformats.org/officeDocument/2006/relationships/tags" Target="../tags/tag70.xml"/><Relationship Id="rId9"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2.xml"/><Relationship Id="rId3" Type="http://schemas.openxmlformats.org/officeDocument/2006/relationships/tags" Target="../tags/tag77.xml"/><Relationship Id="rId7" Type="http://schemas.openxmlformats.org/officeDocument/2006/relationships/tags" Target="../tags/tag81.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tags" Target="../tags/tag80.xml"/><Relationship Id="rId11" Type="http://schemas.openxmlformats.org/officeDocument/2006/relationships/image" Target="../media/image1.emf"/><Relationship Id="rId5" Type="http://schemas.openxmlformats.org/officeDocument/2006/relationships/tags" Target="../tags/tag79.xml"/><Relationship Id="rId10" Type="http://schemas.openxmlformats.org/officeDocument/2006/relationships/oleObject" Target="../embeddings/oleObject10.bin"/><Relationship Id="rId4" Type="http://schemas.openxmlformats.org/officeDocument/2006/relationships/tags" Target="../tags/tag78.xml"/><Relationship Id="rId9"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650847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3"/>
            </p:custDataLst>
          </p:nvPr>
        </p:nvSpPr>
        <p:spPr bwMode="auto">
          <a:xfrm>
            <a:off x="1232602" y="6233090"/>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E6D2C8"/>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4"/>
            </p:custDataLst>
          </p:nvPr>
        </p:nvSpPr>
        <p:spPr bwMode="auto">
          <a:xfrm>
            <a:off x="1232602" y="572324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E6D2C8"/>
                </a:solidFill>
              </a:defRPr>
            </a:lvl1pPr>
          </a:lstStyle>
          <a:p>
            <a:pPr lvl="0">
              <a:buNone/>
            </a:pPr>
            <a:r>
              <a:rPr lang="en-GB"/>
              <a:t>Click to edit Master subtitle style</a:t>
            </a:r>
            <a:endParaRPr lang="en-US"/>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5"/>
            </p:custDataLst>
          </p:nvPr>
        </p:nvSpPr>
        <p:spPr bwMode="auto">
          <a:xfrm>
            <a:off x="1232602" y="4505517"/>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4400" dirty="0">
                <a:solidFill>
                  <a:srgbClr val="E6D2C8"/>
                </a:solidFill>
              </a:defRPr>
            </a:lvl1pPr>
          </a:lstStyle>
          <a:p>
            <a:pPr lvl="0"/>
            <a:r>
              <a:rPr lang="en-GB"/>
              <a:t>Click to edit Master title style</a:t>
            </a:r>
            <a:endParaRPr lang="en-US"/>
          </a:p>
        </p:txBody>
      </p:sp>
    </p:spTree>
    <p:extLst>
      <p:ext uri="{BB962C8B-B14F-4D97-AF65-F5344CB8AC3E}">
        <p14:creationId xmlns:p14="http://schemas.microsoft.com/office/powerpoint/2010/main" val="42811844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324358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97613"/>
            <a:ext cx="6967728" cy="384721"/>
          </a:xfrm>
        </p:spPr>
        <p:txBody>
          <a:bodyPr>
            <a:spAutoFit/>
          </a:bodyPr>
          <a:lstStyle/>
          <a:p>
            <a:r>
              <a:rPr lang="en-GB"/>
              <a:t>Click to edit Master title style</a:t>
            </a:r>
            <a:endParaRPr lang="en-US"/>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663224"/>
            <a:ext cx="6967728"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7C6732C-210A-4A2A-BDB7-ADAA15286F6D}"/>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8"/>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2147128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058959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7918704" cy="384721"/>
          </a:xfrm>
        </p:spPr>
        <p:txBody>
          <a:bodyPr>
            <a:noAutofit/>
          </a:bodyPr>
          <a:lstStyle/>
          <a:p>
            <a:r>
              <a:rPr lang="en-GB"/>
              <a:t>Click to edit Master title style</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7273970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521516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97613"/>
            <a:ext cx="11082528" cy="384721"/>
          </a:xfrm>
        </p:spPr>
        <p:txBody>
          <a:bodyPr>
            <a:spAutoFit/>
          </a:bodyPr>
          <a:lstStyle>
            <a:lvl1pPr>
              <a:defRPr/>
            </a:lvl1pPr>
          </a:lstStyle>
          <a:p>
            <a:r>
              <a:rPr lang="en-GB"/>
              <a:t>Click to edit Master title style</a:t>
            </a:r>
            <a:endParaRPr lang="en-US"/>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54F8C1CD-74D5-434C-83F8-B9C7DBB2E26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31300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3222706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F3B3D990-55D1-4D16-8683-4CED248BB7FA}"/>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B6A47C52-89C8-4B79-B4A2-FE61BCC240A9}"/>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1" name="Straight Connector 10">
            <a:extLst>
              <a:ext uri="{FF2B5EF4-FFF2-40B4-BE49-F238E27FC236}">
                <a16:creationId xmlns:a16="http://schemas.microsoft.com/office/drawing/2014/main" id="{5631B731-7D3D-4CDD-91A3-61B827F06619}"/>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80163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257865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E320337-4448-4A41-97CD-D612E7679AE8}"/>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D694540B-7619-4C7B-9C99-2940C1B16A7F}"/>
              </a:ext>
            </a:extLst>
          </p:cNvPr>
          <p:cNvSpPr txBox="1"/>
          <p:nvPr userDrawn="1"/>
        </p:nvSpPr>
        <p:spPr bwMode="auto">
          <a:xfrm>
            <a:off x="4064000" y="5428664"/>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rPr>
              <a:t>Annexes</a:t>
            </a:r>
          </a:p>
        </p:txBody>
      </p:sp>
    </p:spTree>
    <p:extLst>
      <p:ext uri="{BB962C8B-B14F-4D97-AF65-F5344CB8AC3E}">
        <p14:creationId xmlns:p14="http://schemas.microsoft.com/office/powerpoint/2010/main" val="28177083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_2 text columns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156370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2" name="Text Placeholder 7">
            <a:extLst>
              <a:ext uri="{FF2B5EF4-FFF2-40B4-BE49-F238E27FC236}">
                <a16:creationId xmlns:a16="http://schemas.microsoft.com/office/drawing/2014/main" id="{990F59DA-25A3-F14E-A463-918F4C0183F3}"/>
              </a:ext>
            </a:extLst>
          </p:cNvPr>
          <p:cNvSpPr>
            <a:spLocks noGrp="1"/>
          </p:cNvSpPr>
          <p:nvPr>
            <p:ph type="body" sz="quarter" idx="14"/>
          </p:nvPr>
        </p:nvSpPr>
        <p:spPr>
          <a:xfrm>
            <a:off x="551330" y="1668217"/>
            <a:ext cx="5319246" cy="4068417"/>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Text Placeholder 7">
            <a:extLst>
              <a:ext uri="{FF2B5EF4-FFF2-40B4-BE49-F238E27FC236}">
                <a16:creationId xmlns:a16="http://schemas.microsoft.com/office/drawing/2014/main" id="{0C77F5A8-3CBB-5F43-8C9C-BD95C7518998}"/>
              </a:ext>
            </a:extLst>
          </p:cNvPr>
          <p:cNvSpPr>
            <a:spLocks noGrp="1"/>
          </p:cNvSpPr>
          <p:nvPr>
            <p:ph type="body" sz="quarter" idx="17"/>
          </p:nvPr>
        </p:nvSpPr>
        <p:spPr>
          <a:xfrm>
            <a:off x="6073365" y="1668217"/>
            <a:ext cx="5319246" cy="4068417"/>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Text Placeholder 27">
            <a:extLst>
              <a:ext uri="{FF2B5EF4-FFF2-40B4-BE49-F238E27FC236}">
                <a16:creationId xmlns:a16="http://schemas.microsoft.com/office/drawing/2014/main" id="{CFF1C99E-F26C-8B48-9830-A731A6CD6696}"/>
              </a:ext>
            </a:extLst>
          </p:cNvPr>
          <p:cNvSpPr>
            <a:spLocks noGrp="1"/>
          </p:cNvSpPr>
          <p:nvPr>
            <p:ph type="body" sz="quarter" idx="19" hasCustomPrompt="1"/>
          </p:nvPr>
        </p:nvSpPr>
        <p:spPr>
          <a:xfrm>
            <a:off x="552091" y="246579"/>
            <a:ext cx="3782308" cy="290352"/>
          </a:xfrm>
          <a:prstGeom prst="rect">
            <a:avLst/>
          </a:prstGeom>
        </p:spPr>
        <p:txBody>
          <a:bodyPr rIns="0" anchor="t">
            <a:normAutofit/>
          </a:bodyPr>
          <a:lstStyle>
            <a:lvl1pPr algn="l">
              <a:buNone/>
              <a:defRPr sz="1200" b="0" i="1">
                <a:solidFill>
                  <a:schemeClr val="tx2"/>
                </a:solidFill>
                <a:latin typeface="+mn-lt"/>
              </a:defRPr>
            </a:lvl1pPr>
          </a:lstStyle>
          <a:p>
            <a:pPr lvl="0"/>
            <a:r>
              <a:rPr lang="en-US"/>
              <a:t>Section name </a:t>
            </a:r>
          </a:p>
        </p:txBody>
      </p:sp>
      <p:sp>
        <p:nvSpPr>
          <p:cNvPr id="14" name="Slide Number Placeholder 5">
            <a:extLst>
              <a:ext uri="{FF2B5EF4-FFF2-40B4-BE49-F238E27FC236}">
                <a16:creationId xmlns:a16="http://schemas.microsoft.com/office/drawing/2014/main" id="{F24F3FBC-0E6C-C449-A900-102CABF0C5B1}"/>
              </a:ext>
            </a:extLst>
          </p:cNvPr>
          <p:cNvSpPr>
            <a:spLocks noGrp="1"/>
          </p:cNvSpPr>
          <p:nvPr>
            <p:ph type="sldNum" sz="quarter" idx="4"/>
          </p:nvPr>
        </p:nvSpPr>
        <p:spPr>
          <a:xfrm>
            <a:off x="11324535" y="224520"/>
            <a:ext cx="428609" cy="365125"/>
          </a:xfrm>
          <a:prstGeom prst="rect">
            <a:avLst/>
          </a:prstGeom>
        </p:spPr>
        <p:txBody>
          <a:bodyPr vert="horz" lIns="91440" tIns="45720" rIns="91440" bIns="45720" rtlCol="0" anchor="t"/>
          <a:lstStyle>
            <a:lvl1pPr algn="l">
              <a:defRPr sz="1400" b="1">
                <a:solidFill>
                  <a:schemeClr val="accent2"/>
                </a:solidFill>
              </a:defRPr>
            </a:lvl1pPr>
          </a:lstStyle>
          <a:p>
            <a:fld id="{5C7892DB-DEDB-A440-9305-CDECCE7FBDC0}" type="slidenum">
              <a:rPr lang="en-US" smtClean="0"/>
              <a:pPr/>
              <a:t>‹#›</a:t>
            </a:fld>
            <a:endParaRPr lang="en-US"/>
          </a:p>
        </p:txBody>
      </p:sp>
      <p:sp>
        <p:nvSpPr>
          <p:cNvPr id="4" name="Title 3">
            <a:extLst>
              <a:ext uri="{FF2B5EF4-FFF2-40B4-BE49-F238E27FC236}">
                <a16:creationId xmlns:a16="http://schemas.microsoft.com/office/drawing/2014/main" id="{B747B00D-C86A-D947-9782-3D7CB86D7AC9}"/>
              </a:ext>
            </a:extLst>
          </p:cNvPr>
          <p:cNvSpPr>
            <a:spLocks noGrp="1"/>
          </p:cNvSpPr>
          <p:nvPr>
            <p:ph type="title"/>
          </p:nvPr>
        </p:nvSpPr>
        <p:spPr/>
        <p:txBody>
          <a:bodyPr vert="horz"/>
          <a:lstStyle/>
          <a:p>
            <a:r>
              <a:rPr lang="en-GB"/>
              <a:t>Click to edit Master title style</a:t>
            </a:r>
            <a:endParaRPr lang="en-US"/>
          </a:p>
        </p:txBody>
      </p:sp>
      <p:sp>
        <p:nvSpPr>
          <p:cNvPr id="5" name="Footer Placeholder 4">
            <a:extLst>
              <a:ext uri="{FF2B5EF4-FFF2-40B4-BE49-F238E27FC236}">
                <a16:creationId xmlns:a16="http://schemas.microsoft.com/office/drawing/2014/main" id="{043D1483-BD68-B846-8EF9-8AF25AA82476}"/>
              </a:ext>
            </a:extLst>
          </p:cNvPr>
          <p:cNvSpPr>
            <a:spLocks noGrp="1"/>
          </p:cNvSpPr>
          <p:nvPr>
            <p:ph type="ftr" sz="quarter" idx="20"/>
          </p:nvPr>
        </p:nvSpPr>
        <p:spPr/>
        <p:txBody>
          <a:bodyPr/>
          <a:lstStyle/>
          <a:p>
            <a:endParaRPr lang="en-US" sz="1000"/>
          </a:p>
        </p:txBody>
      </p:sp>
    </p:spTree>
    <p:extLst>
      <p:ext uri="{BB962C8B-B14F-4D97-AF65-F5344CB8AC3E}">
        <p14:creationId xmlns:p14="http://schemas.microsoft.com/office/powerpoint/2010/main" val="2638523977"/>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Vertical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263D28E-A044-4A27-8E65-0B05919B7502}"/>
              </a:ext>
            </a:extLst>
          </p:cNvPr>
          <p:cNvGraphicFramePr>
            <a:graphicFrameLocks noChangeAspect="1"/>
          </p:cNvGraphicFramePr>
          <p:nvPr userDrawn="1">
            <p:custDataLst>
              <p:tags r:id="rId1"/>
            </p:custDataLst>
            <p:extLst>
              <p:ext uri="{D42A27DB-BD31-4B8C-83A1-F6EECF244321}">
                <p14:modId xmlns:p14="http://schemas.microsoft.com/office/powerpoint/2010/main" val="194749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7" name="Object 6" hidden="1">
                        <a:extLst>
                          <a:ext uri="{FF2B5EF4-FFF2-40B4-BE49-F238E27FC236}">
                            <a16:creationId xmlns:a16="http://schemas.microsoft.com/office/drawing/2014/main" id="{2263D28E-A044-4A27-8E65-0B05919B75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5282379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_1 text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0" name="Title 19">
            <a:extLst>
              <a:ext uri="{FF2B5EF4-FFF2-40B4-BE49-F238E27FC236}">
                <a16:creationId xmlns:a16="http://schemas.microsoft.com/office/drawing/2014/main" id="{0A75B8BC-6ADC-BC40-8446-A30BADE3EFD2}"/>
              </a:ext>
            </a:extLst>
          </p:cNvPr>
          <p:cNvSpPr>
            <a:spLocks noGrp="1"/>
          </p:cNvSpPr>
          <p:nvPr>
            <p:ph type="title"/>
          </p:nvPr>
        </p:nvSpPr>
        <p:spPr>
          <a:xfrm>
            <a:off x="578553" y="805392"/>
            <a:ext cx="8048612" cy="537986"/>
          </a:xfrm>
        </p:spPr>
        <p:txBody>
          <a:bodyPr>
            <a:noAutofit/>
          </a:bodyPr>
          <a:lstStyle>
            <a:lvl1pPr>
              <a:defRPr sz="2400">
                <a:solidFill>
                  <a:schemeClr val="accent1"/>
                </a:solidFill>
              </a:defRPr>
            </a:lvl1pPr>
          </a:lstStyle>
          <a:p>
            <a:r>
              <a:rPr lang="en-GB"/>
              <a:t>Click to edit Master title style</a:t>
            </a:r>
            <a:endParaRPr lang="en-US"/>
          </a:p>
        </p:txBody>
      </p:sp>
      <p:sp>
        <p:nvSpPr>
          <p:cNvPr id="8" name="Text Placeholder 7">
            <a:extLst>
              <a:ext uri="{FF2B5EF4-FFF2-40B4-BE49-F238E27FC236}">
                <a16:creationId xmlns:a16="http://schemas.microsoft.com/office/drawing/2014/main" id="{4ED4E4DF-40A8-BA46-8009-C8DA36759873}"/>
              </a:ext>
            </a:extLst>
          </p:cNvPr>
          <p:cNvSpPr>
            <a:spLocks noGrp="1"/>
          </p:cNvSpPr>
          <p:nvPr>
            <p:ph type="body" sz="quarter" idx="14"/>
          </p:nvPr>
        </p:nvSpPr>
        <p:spPr>
          <a:xfrm>
            <a:off x="1040130" y="1775793"/>
            <a:ext cx="7155603" cy="406841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Text Placeholder 27">
            <a:extLst>
              <a:ext uri="{FF2B5EF4-FFF2-40B4-BE49-F238E27FC236}">
                <a16:creationId xmlns:a16="http://schemas.microsoft.com/office/drawing/2014/main" id="{5DA822C1-B4F8-F446-AC19-7FDBBA08DC8C}"/>
              </a:ext>
            </a:extLst>
          </p:cNvPr>
          <p:cNvSpPr>
            <a:spLocks noGrp="1"/>
          </p:cNvSpPr>
          <p:nvPr>
            <p:ph type="body" sz="quarter" idx="13" hasCustomPrompt="1"/>
          </p:nvPr>
        </p:nvSpPr>
        <p:spPr>
          <a:xfrm>
            <a:off x="7404154" y="246579"/>
            <a:ext cx="3782308" cy="290352"/>
          </a:xfrm>
        </p:spPr>
        <p:txBody>
          <a:bodyPr rIns="0" anchor="t">
            <a:normAutofit/>
          </a:bodyPr>
          <a:lstStyle>
            <a:lvl1pPr algn="r">
              <a:buNone/>
              <a:defRPr sz="1200" b="0">
                <a:latin typeface="+mn-lt"/>
              </a:defRPr>
            </a:lvl1pPr>
          </a:lstStyle>
          <a:p>
            <a:pPr lvl="0"/>
            <a:r>
              <a:rPr lang="en-US"/>
              <a:t>Section name </a:t>
            </a:r>
          </a:p>
        </p:txBody>
      </p:sp>
      <p:sp>
        <p:nvSpPr>
          <p:cNvPr id="11" name="Rectangle 10">
            <a:extLst>
              <a:ext uri="{FF2B5EF4-FFF2-40B4-BE49-F238E27FC236}">
                <a16:creationId xmlns:a16="http://schemas.microsoft.com/office/drawing/2014/main" id="{A9EBE7F3-63AB-E74B-BC4F-2742BEF2D331}"/>
              </a:ext>
            </a:extLst>
          </p:cNvPr>
          <p:cNvSpPr/>
          <p:nvPr userDrawn="1"/>
        </p:nvSpPr>
        <p:spPr bwMode="white">
          <a:xfrm>
            <a:off x="0" y="6739466"/>
            <a:ext cx="12192000" cy="118533"/>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4" name="Footer Placeholder 3">
            <a:extLst>
              <a:ext uri="{FF2B5EF4-FFF2-40B4-BE49-F238E27FC236}">
                <a16:creationId xmlns:a16="http://schemas.microsoft.com/office/drawing/2014/main" id="{3371C2BB-1BB7-454E-92E1-8638963A99C2}"/>
              </a:ext>
            </a:extLst>
          </p:cNvPr>
          <p:cNvSpPr>
            <a:spLocks noGrp="1"/>
          </p:cNvSpPr>
          <p:nvPr>
            <p:ph type="ftr" sz="quarter" idx="17"/>
          </p:nvPr>
        </p:nvSpPr>
        <p:spPr/>
        <p:txBody>
          <a:bodyPr/>
          <a:lstStyle/>
          <a:p>
            <a:endParaRPr lang="en-US" sz="1000"/>
          </a:p>
        </p:txBody>
      </p:sp>
      <p:sp>
        <p:nvSpPr>
          <p:cNvPr id="6" name="Slide Number Placeholder 5">
            <a:extLst>
              <a:ext uri="{FF2B5EF4-FFF2-40B4-BE49-F238E27FC236}">
                <a16:creationId xmlns:a16="http://schemas.microsoft.com/office/drawing/2014/main" id="{DA9AB4EE-B21D-804A-9B41-27C28463175F}"/>
              </a:ext>
            </a:extLst>
          </p:cNvPr>
          <p:cNvSpPr>
            <a:spLocks noGrp="1"/>
          </p:cNvSpPr>
          <p:nvPr>
            <p:ph type="sldNum" sz="quarter" idx="18"/>
          </p:nvPr>
        </p:nvSpPr>
        <p:spPr/>
        <p:txBody>
          <a:bodyPr/>
          <a:lstStyle/>
          <a:p>
            <a:pPr algn="l"/>
            <a:r>
              <a:rPr lang="en-US"/>
              <a:t>| </a:t>
            </a:r>
            <a:fld id="{5C7892DB-DEDB-A440-9305-CDECCE7FBDC0}" type="slidenum">
              <a:rPr lang="en-US" smtClean="0"/>
              <a:pPr algn="l"/>
              <a:t>‹#›</a:t>
            </a:fld>
            <a:endParaRPr lang="en-US"/>
          </a:p>
        </p:txBody>
      </p:sp>
      <p:sp>
        <p:nvSpPr>
          <p:cNvPr id="13" name="Text Placeholder 27">
            <a:extLst>
              <a:ext uri="{FF2B5EF4-FFF2-40B4-BE49-F238E27FC236}">
                <a16:creationId xmlns:a16="http://schemas.microsoft.com/office/drawing/2014/main" id="{C35DBD1C-00BB-3440-8810-00B944ACC2B2}"/>
              </a:ext>
            </a:extLst>
          </p:cNvPr>
          <p:cNvSpPr>
            <a:spLocks noGrp="1"/>
          </p:cNvSpPr>
          <p:nvPr>
            <p:ph type="body" sz="quarter" idx="20" hasCustomPrompt="1"/>
          </p:nvPr>
        </p:nvSpPr>
        <p:spPr>
          <a:xfrm>
            <a:off x="578553" y="246579"/>
            <a:ext cx="4896556" cy="290352"/>
          </a:xfrm>
        </p:spPr>
        <p:txBody>
          <a:bodyPr rIns="0" anchor="t">
            <a:normAutofit/>
          </a:bodyPr>
          <a:lstStyle>
            <a:lvl1pPr algn="l">
              <a:buNone/>
              <a:defRPr sz="1200" b="0">
                <a:latin typeface="+mn-lt"/>
              </a:defRPr>
            </a:lvl1pPr>
          </a:lstStyle>
          <a:p>
            <a:r>
              <a:rPr lang="en-US"/>
              <a:t>Country Readiness and Delivery Work Stream - XXX Working Group</a:t>
            </a:r>
          </a:p>
        </p:txBody>
      </p:sp>
    </p:spTree>
    <p:extLst>
      <p:ext uri="{BB962C8B-B14F-4D97-AF65-F5344CB8AC3E}">
        <p14:creationId xmlns:p14="http://schemas.microsoft.com/office/powerpoint/2010/main" val="3932097501"/>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_1 text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0" name="Title 19">
            <a:extLst>
              <a:ext uri="{FF2B5EF4-FFF2-40B4-BE49-F238E27FC236}">
                <a16:creationId xmlns:a16="http://schemas.microsoft.com/office/drawing/2014/main" id="{0A75B8BC-6ADC-BC40-8446-A30BADE3EFD2}"/>
              </a:ext>
            </a:extLst>
          </p:cNvPr>
          <p:cNvSpPr>
            <a:spLocks noGrp="1"/>
          </p:cNvSpPr>
          <p:nvPr>
            <p:ph type="title"/>
          </p:nvPr>
        </p:nvSpPr>
        <p:spPr>
          <a:xfrm>
            <a:off x="578552" y="805392"/>
            <a:ext cx="10607189" cy="537986"/>
          </a:xfrm>
        </p:spPr>
        <p:txBody>
          <a:bodyPr>
            <a:noAutofit/>
          </a:bodyPr>
          <a:lstStyle>
            <a:lvl1pPr>
              <a:defRPr sz="2400">
                <a:solidFill>
                  <a:schemeClr val="accent1"/>
                </a:solidFill>
              </a:defRPr>
            </a:lvl1pPr>
          </a:lstStyle>
          <a:p>
            <a:r>
              <a:rPr lang="en-GB"/>
              <a:t>Click to edit Master title style</a:t>
            </a:r>
            <a:endParaRPr lang="en-US"/>
          </a:p>
        </p:txBody>
      </p:sp>
      <p:sp>
        <p:nvSpPr>
          <p:cNvPr id="8" name="Text Placeholder 7">
            <a:extLst>
              <a:ext uri="{FF2B5EF4-FFF2-40B4-BE49-F238E27FC236}">
                <a16:creationId xmlns:a16="http://schemas.microsoft.com/office/drawing/2014/main" id="{4ED4E4DF-40A8-BA46-8009-C8DA36759873}"/>
              </a:ext>
            </a:extLst>
          </p:cNvPr>
          <p:cNvSpPr>
            <a:spLocks noGrp="1"/>
          </p:cNvSpPr>
          <p:nvPr>
            <p:ph type="body" sz="quarter" idx="14"/>
          </p:nvPr>
        </p:nvSpPr>
        <p:spPr>
          <a:xfrm>
            <a:off x="1040130" y="1595170"/>
            <a:ext cx="10158138" cy="406841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Slide Number Placeholder 8">
            <a:extLst>
              <a:ext uri="{FF2B5EF4-FFF2-40B4-BE49-F238E27FC236}">
                <a16:creationId xmlns:a16="http://schemas.microsoft.com/office/drawing/2014/main" id="{B96C500B-D9EC-5347-8E16-C455F6F04DC6}"/>
              </a:ext>
            </a:extLst>
          </p:cNvPr>
          <p:cNvSpPr>
            <a:spLocks noGrp="1"/>
          </p:cNvSpPr>
          <p:nvPr>
            <p:ph type="sldNum" sz="quarter" idx="16"/>
          </p:nvPr>
        </p:nvSpPr>
        <p:spPr/>
        <p:txBody>
          <a:bodyPr/>
          <a:lstStyle/>
          <a:p>
            <a:fld id="{5C7892DB-DEDB-A440-9305-CDECCE7FBDC0}" type="slidenum">
              <a:rPr lang="en-US" smtClean="0"/>
              <a:t>‹#›</a:t>
            </a:fld>
            <a:endParaRPr lang="en-US"/>
          </a:p>
        </p:txBody>
      </p:sp>
      <p:sp>
        <p:nvSpPr>
          <p:cNvPr id="10" name="Text Placeholder 27">
            <a:extLst>
              <a:ext uri="{FF2B5EF4-FFF2-40B4-BE49-F238E27FC236}">
                <a16:creationId xmlns:a16="http://schemas.microsoft.com/office/drawing/2014/main" id="{5DA822C1-B4F8-F446-AC19-7FDBBA08DC8C}"/>
              </a:ext>
            </a:extLst>
          </p:cNvPr>
          <p:cNvSpPr>
            <a:spLocks noGrp="1"/>
          </p:cNvSpPr>
          <p:nvPr>
            <p:ph type="body" sz="quarter" idx="13" hasCustomPrompt="1"/>
          </p:nvPr>
        </p:nvSpPr>
        <p:spPr>
          <a:xfrm>
            <a:off x="6263014" y="246579"/>
            <a:ext cx="4923448" cy="279514"/>
          </a:xfrm>
        </p:spPr>
        <p:txBody>
          <a:bodyPr rIns="0" anchor="t">
            <a:normAutofit/>
          </a:bodyPr>
          <a:lstStyle>
            <a:lvl1pPr algn="r">
              <a:buNone/>
              <a:defRPr sz="1200" b="0">
                <a:latin typeface="+mn-lt"/>
              </a:defRPr>
            </a:lvl1pPr>
          </a:lstStyle>
          <a:p>
            <a:pPr lvl="0"/>
            <a:r>
              <a:rPr lang="en-US"/>
              <a:t>Section name |</a:t>
            </a:r>
          </a:p>
        </p:txBody>
      </p:sp>
      <p:sp>
        <p:nvSpPr>
          <p:cNvPr id="11" name="Rectangle 10">
            <a:extLst>
              <a:ext uri="{FF2B5EF4-FFF2-40B4-BE49-F238E27FC236}">
                <a16:creationId xmlns:a16="http://schemas.microsoft.com/office/drawing/2014/main" id="{A9EBE7F3-63AB-E74B-BC4F-2742BEF2D331}"/>
              </a:ext>
            </a:extLst>
          </p:cNvPr>
          <p:cNvSpPr/>
          <p:nvPr userDrawn="1"/>
        </p:nvSpPr>
        <p:spPr bwMode="white">
          <a:xfrm>
            <a:off x="0" y="6739466"/>
            <a:ext cx="12192000" cy="118533"/>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544301128"/>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80E369A-2421-2B45-B472-43E528F9CE5B}"/>
              </a:ext>
            </a:extLst>
          </p:cNvPr>
          <p:cNvSpPr/>
          <p:nvPr userDrawn="1"/>
        </p:nvSpPr>
        <p:spPr bwMode="white">
          <a:xfrm>
            <a:off x="9703398" y="-1309"/>
            <a:ext cx="2488601"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9" name="Slide Number Placeholder 8">
            <a:extLst>
              <a:ext uri="{FF2B5EF4-FFF2-40B4-BE49-F238E27FC236}">
                <a16:creationId xmlns:a16="http://schemas.microsoft.com/office/drawing/2014/main" id="{B96C500B-D9EC-5347-8E16-C455F6F04DC6}"/>
              </a:ext>
            </a:extLst>
          </p:cNvPr>
          <p:cNvSpPr>
            <a:spLocks noGrp="1"/>
          </p:cNvSpPr>
          <p:nvPr>
            <p:ph type="sldNum" sz="quarter" idx="16"/>
          </p:nvPr>
        </p:nvSpPr>
        <p:spPr>
          <a:xfrm>
            <a:off x="11184835" y="224520"/>
            <a:ext cx="428609" cy="365125"/>
          </a:xfrm>
        </p:spPr>
        <p:txBody>
          <a:bodyPr/>
          <a:lstStyle/>
          <a:p>
            <a:fld id="{5C7892DB-DEDB-A440-9305-CDECCE7FBDC0}" type="slidenum">
              <a:rPr lang="en-US" smtClean="0"/>
              <a:t>‹#›</a:t>
            </a:fld>
            <a:endParaRPr lang="en-US"/>
          </a:p>
        </p:txBody>
      </p:sp>
      <p:sp>
        <p:nvSpPr>
          <p:cNvPr id="11" name="Text Placeholder 7">
            <a:extLst>
              <a:ext uri="{FF2B5EF4-FFF2-40B4-BE49-F238E27FC236}">
                <a16:creationId xmlns:a16="http://schemas.microsoft.com/office/drawing/2014/main" id="{A7822AC9-3D76-014E-9DBC-100BFFA8BB4D}"/>
              </a:ext>
            </a:extLst>
          </p:cNvPr>
          <p:cNvSpPr>
            <a:spLocks noGrp="1"/>
          </p:cNvSpPr>
          <p:nvPr>
            <p:ph type="body" sz="quarter" idx="14"/>
          </p:nvPr>
        </p:nvSpPr>
        <p:spPr>
          <a:xfrm>
            <a:off x="1040130" y="1775793"/>
            <a:ext cx="5530003" cy="406841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Text Placeholder 27">
            <a:extLst>
              <a:ext uri="{FF2B5EF4-FFF2-40B4-BE49-F238E27FC236}">
                <a16:creationId xmlns:a16="http://schemas.microsoft.com/office/drawing/2014/main" id="{26C4B127-E7E0-444A-BB78-D7577CB04C2A}"/>
              </a:ext>
            </a:extLst>
          </p:cNvPr>
          <p:cNvSpPr>
            <a:spLocks noGrp="1"/>
          </p:cNvSpPr>
          <p:nvPr>
            <p:ph type="body" sz="quarter" idx="13" hasCustomPrompt="1"/>
          </p:nvPr>
        </p:nvSpPr>
        <p:spPr>
          <a:xfrm>
            <a:off x="7404154" y="246579"/>
            <a:ext cx="3782308" cy="290352"/>
          </a:xfrm>
        </p:spPr>
        <p:txBody>
          <a:bodyPr rIns="0" anchor="t">
            <a:normAutofit/>
          </a:bodyPr>
          <a:lstStyle>
            <a:lvl1pPr algn="r">
              <a:buNone/>
              <a:defRPr sz="1200" b="0">
                <a:latin typeface="+mn-lt"/>
              </a:defRPr>
            </a:lvl1pPr>
          </a:lstStyle>
          <a:p>
            <a:pPr lvl="0"/>
            <a:r>
              <a:rPr lang="en-US"/>
              <a:t>Section name |</a:t>
            </a:r>
          </a:p>
        </p:txBody>
      </p:sp>
      <p:sp>
        <p:nvSpPr>
          <p:cNvPr id="4" name="Footer Placeholder 3">
            <a:extLst>
              <a:ext uri="{FF2B5EF4-FFF2-40B4-BE49-F238E27FC236}">
                <a16:creationId xmlns:a16="http://schemas.microsoft.com/office/drawing/2014/main" id="{D5603FEE-A3D3-904A-9106-278392AB5A3E}"/>
              </a:ext>
            </a:extLst>
          </p:cNvPr>
          <p:cNvSpPr>
            <a:spLocks noGrp="1"/>
          </p:cNvSpPr>
          <p:nvPr>
            <p:ph type="ftr" sz="quarter" idx="17"/>
          </p:nvPr>
        </p:nvSpPr>
        <p:spPr/>
        <p:txBody>
          <a:bodyPr/>
          <a:lstStyle/>
          <a:p>
            <a:endParaRPr lang="en-US" sz="1000"/>
          </a:p>
        </p:txBody>
      </p:sp>
      <p:sp>
        <p:nvSpPr>
          <p:cNvPr id="5" name="Title 4">
            <a:extLst>
              <a:ext uri="{FF2B5EF4-FFF2-40B4-BE49-F238E27FC236}">
                <a16:creationId xmlns:a16="http://schemas.microsoft.com/office/drawing/2014/main" id="{63C4827F-4A69-E545-86C7-79E41B9D15D5}"/>
              </a:ext>
            </a:extLst>
          </p:cNvPr>
          <p:cNvSpPr>
            <a:spLocks noGrp="1"/>
          </p:cNvSpPr>
          <p:nvPr>
            <p:ph type="title"/>
          </p:nvPr>
        </p:nvSpPr>
        <p:spPr>
          <a:xfrm>
            <a:off x="578552" y="805392"/>
            <a:ext cx="9006511" cy="537986"/>
          </a:xfrm>
        </p:spPr>
        <p:txBody>
          <a:bodyPr vert="horz"/>
          <a:lstStyle/>
          <a:p>
            <a:r>
              <a:rPr lang="en-GB"/>
              <a:t>Click to edit Master title style</a:t>
            </a:r>
            <a:endParaRPr lang="en-US"/>
          </a:p>
        </p:txBody>
      </p:sp>
    </p:spTree>
    <p:extLst>
      <p:ext uri="{BB962C8B-B14F-4D97-AF65-F5344CB8AC3E}">
        <p14:creationId xmlns:p14="http://schemas.microsoft.com/office/powerpoint/2010/main" val="1025517533"/>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365028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97613"/>
            <a:ext cx="11082528" cy="384721"/>
          </a:xfrm>
        </p:spPr>
        <p:txBody>
          <a:bodyPr vert="horz" wrap="square" lIns="0" tIns="0" rIns="0" bIns="0" rtlCol="0" anchor="t" anchorCtr="0">
            <a:spAutoFit/>
          </a:bodyPr>
          <a:lstStyle>
            <a:lvl1pPr>
              <a:defRPr lang="en-US" dirty="0"/>
            </a:lvl1pPr>
          </a:lstStyle>
          <a:p>
            <a:pPr lvl="0"/>
            <a:r>
              <a:rPr lang="en-GB"/>
              <a:t>Click to edit Master title style</a:t>
            </a:r>
            <a:endParaRPr lang="en-US"/>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663224"/>
            <a:ext cx="11082528" cy="246221"/>
          </a:xfrm>
          <a:prstGeom prst="rect">
            <a:avLst/>
          </a:prstGeom>
        </p:spPr>
        <p:txBody>
          <a:bodyPr vert="horz" wrap="square" lIns="0" tIns="0" rIns="0" bIns="0" rtlCol="0">
            <a:noAutofit/>
          </a:bodyPr>
          <a:lstStyle>
            <a:lvl1pPr>
              <a:defRPr lang="en-US" b="0" baseline="0" dirty="0"/>
            </a:lvl1pPr>
          </a:lstStyle>
          <a:p>
            <a:pPr lvl="0">
              <a:buNone/>
            </a:pPr>
            <a:r>
              <a:rPr lang="en-GB"/>
              <a:t>Click to edit Master subtitle style</a:t>
            </a:r>
            <a:endParaRPr lang="en-US"/>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377872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Title_1 text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ext Placeholder 7">
            <a:extLst>
              <a:ext uri="{FF2B5EF4-FFF2-40B4-BE49-F238E27FC236}">
                <a16:creationId xmlns:a16="http://schemas.microsoft.com/office/drawing/2014/main" id="{4ED4E4DF-40A8-BA46-8009-C8DA36759873}"/>
              </a:ext>
            </a:extLst>
          </p:cNvPr>
          <p:cNvSpPr>
            <a:spLocks noGrp="1"/>
          </p:cNvSpPr>
          <p:nvPr>
            <p:ph type="body" sz="quarter" idx="14"/>
          </p:nvPr>
        </p:nvSpPr>
        <p:spPr>
          <a:xfrm>
            <a:off x="1040130" y="1775793"/>
            <a:ext cx="7155603" cy="4068417"/>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Text Placeholder 27">
            <a:extLst>
              <a:ext uri="{FF2B5EF4-FFF2-40B4-BE49-F238E27FC236}">
                <a16:creationId xmlns:a16="http://schemas.microsoft.com/office/drawing/2014/main" id="{785EDADD-C884-BD4B-A41C-D8E81E0719ED}"/>
              </a:ext>
            </a:extLst>
          </p:cNvPr>
          <p:cNvSpPr>
            <a:spLocks noGrp="1"/>
          </p:cNvSpPr>
          <p:nvPr>
            <p:ph type="body" sz="quarter" idx="19" hasCustomPrompt="1"/>
          </p:nvPr>
        </p:nvSpPr>
        <p:spPr>
          <a:xfrm>
            <a:off x="552091" y="246579"/>
            <a:ext cx="3782308" cy="290352"/>
          </a:xfrm>
          <a:prstGeom prst="rect">
            <a:avLst/>
          </a:prstGeom>
        </p:spPr>
        <p:txBody>
          <a:bodyPr rIns="0" anchor="t">
            <a:normAutofit/>
          </a:bodyPr>
          <a:lstStyle>
            <a:lvl1pPr algn="l">
              <a:buNone/>
              <a:defRPr sz="1200" b="0" i="1">
                <a:solidFill>
                  <a:schemeClr val="tx2"/>
                </a:solidFill>
                <a:latin typeface="+mn-lt"/>
              </a:defRPr>
            </a:lvl1pPr>
          </a:lstStyle>
          <a:p>
            <a:pPr lvl="0"/>
            <a:r>
              <a:rPr lang="en-US"/>
              <a:t>Section name </a:t>
            </a:r>
          </a:p>
        </p:txBody>
      </p:sp>
      <p:sp>
        <p:nvSpPr>
          <p:cNvPr id="10" name="Slide Number Placeholder 5">
            <a:extLst>
              <a:ext uri="{FF2B5EF4-FFF2-40B4-BE49-F238E27FC236}">
                <a16:creationId xmlns:a16="http://schemas.microsoft.com/office/drawing/2014/main" id="{F763B415-1F89-9A48-8938-54AD3313F465}"/>
              </a:ext>
            </a:extLst>
          </p:cNvPr>
          <p:cNvSpPr>
            <a:spLocks noGrp="1"/>
          </p:cNvSpPr>
          <p:nvPr>
            <p:ph type="sldNum" sz="quarter" idx="4"/>
          </p:nvPr>
        </p:nvSpPr>
        <p:spPr>
          <a:xfrm>
            <a:off x="11324535" y="224520"/>
            <a:ext cx="428609" cy="365125"/>
          </a:xfrm>
          <a:prstGeom prst="rect">
            <a:avLst/>
          </a:prstGeom>
        </p:spPr>
        <p:txBody>
          <a:bodyPr vert="horz" lIns="91440" tIns="45720" rIns="91440" bIns="45720" rtlCol="0" anchor="t"/>
          <a:lstStyle>
            <a:lvl1pPr algn="l">
              <a:defRPr sz="1400" b="1">
                <a:solidFill>
                  <a:schemeClr val="accent2"/>
                </a:solidFill>
              </a:defRPr>
            </a:lvl1pPr>
          </a:lstStyle>
          <a:p>
            <a:fld id="{5C7892DB-DEDB-A440-9305-CDECCE7FBDC0}" type="slidenum">
              <a:rPr lang="en-US" smtClean="0"/>
              <a:pPr/>
              <a:t>‹#›</a:t>
            </a:fld>
            <a:endParaRPr lang="en-US"/>
          </a:p>
        </p:txBody>
      </p:sp>
      <p:sp>
        <p:nvSpPr>
          <p:cNvPr id="4" name="Title 3">
            <a:extLst>
              <a:ext uri="{FF2B5EF4-FFF2-40B4-BE49-F238E27FC236}">
                <a16:creationId xmlns:a16="http://schemas.microsoft.com/office/drawing/2014/main" id="{5480F0E7-07B5-CF4D-A3C9-1C162F76A8E0}"/>
              </a:ext>
            </a:extLst>
          </p:cNvPr>
          <p:cNvSpPr>
            <a:spLocks noGrp="1"/>
          </p:cNvSpPr>
          <p:nvPr>
            <p:ph type="title"/>
          </p:nvPr>
        </p:nvSpPr>
        <p:spPr/>
        <p:txBody>
          <a:bodyPr/>
          <a:lstStyle/>
          <a:p>
            <a:r>
              <a:rPr lang="en-GB"/>
              <a:t>Click to edit Master title style</a:t>
            </a:r>
            <a:endParaRPr lang="en-US"/>
          </a:p>
        </p:txBody>
      </p:sp>
      <p:sp>
        <p:nvSpPr>
          <p:cNvPr id="5" name="Footer Placeholder 4">
            <a:extLst>
              <a:ext uri="{FF2B5EF4-FFF2-40B4-BE49-F238E27FC236}">
                <a16:creationId xmlns:a16="http://schemas.microsoft.com/office/drawing/2014/main" id="{D8F352D4-BDE5-5C48-BB97-076C276D643C}"/>
              </a:ext>
            </a:extLst>
          </p:cNvPr>
          <p:cNvSpPr>
            <a:spLocks noGrp="1"/>
          </p:cNvSpPr>
          <p:nvPr>
            <p:ph type="ftr" sz="quarter" idx="20"/>
          </p:nvPr>
        </p:nvSpPr>
        <p:spPr/>
        <p:txBody>
          <a:bodyPr/>
          <a:lstStyle/>
          <a:p>
            <a:endParaRPr lang="en-US" sz="1000"/>
          </a:p>
        </p:txBody>
      </p:sp>
    </p:spTree>
    <p:extLst>
      <p:ext uri="{BB962C8B-B14F-4D97-AF65-F5344CB8AC3E}">
        <p14:creationId xmlns:p14="http://schemas.microsoft.com/office/powerpoint/2010/main" val="4248224077"/>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3_Title_1 text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ext Placeholder 7">
            <a:extLst>
              <a:ext uri="{FF2B5EF4-FFF2-40B4-BE49-F238E27FC236}">
                <a16:creationId xmlns:a16="http://schemas.microsoft.com/office/drawing/2014/main" id="{4ED4E4DF-40A8-BA46-8009-C8DA36759873}"/>
              </a:ext>
            </a:extLst>
          </p:cNvPr>
          <p:cNvSpPr>
            <a:spLocks noGrp="1"/>
          </p:cNvSpPr>
          <p:nvPr>
            <p:ph type="body" sz="quarter" idx="14"/>
          </p:nvPr>
        </p:nvSpPr>
        <p:spPr>
          <a:xfrm>
            <a:off x="1040130" y="1775793"/>
            <a:ext cx="7155603" cy="4068417"/>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Text Placeholder 27">
            <a:extLst>
              <a:ext uri="{FF2B5EF4-FFF2-40B4-BE49-F238E27FC236}">
                <a16:creationId xmlns:a16="http://schemas.microsoft.com/office/drawing/2014/main" id="{785EDADD-C884-BD4B-A41C-D8E81E0719ED}"/>
              </a:ext>
            </a:extLst>
          </p:cNvPr>
          <p:cNvSpPr>
            <a:spLocks noGrp="1"/>
          </p:cNvSpPr>
          <p:nvPr>
            <p:ph type="body" sz="quarter" idx="19" hasCustomPrompt="1"/>
          </p:nvPr>
        </p:nvSpPr>
        <p:spPr>
          <a:xfrm>
            <a:off x="552091" y="246579"/>
            <a:ext cx="3782308" cy="290352"/>
          </a:xfrm>
          <a:prstGeom prst="rect">
            <a:avLst/>
          </a:prstGeom>
        </p:spPr>
        <p:txBody>
          <a:bodyPr rIns="0" anchor="t">
            <a:normAutofit/>
          </a:bodyPr>
          <a:lstStyle>
            <a:lvl1pPr algn="l">
              <a:buNone/>
              <a:defRPr sz="1200" b="0" i="1">
                <a:solidFill>
                  <a:schemeClr val="tx2"/>
                </a:solidFill>
                <a:latin typeface="+mn-lt"/>
              </a:defRPr>
            </a:lvl1pPr>
          </a:lstStyle>
          <a:p>
            <a:pPr lvl="0"/>
            <a:r>
              <a:rPr lang="en-US"/>
              <a:t>Section name </a:t>
            </a:r>
          </a:p>
        </p:txBody>
      </p:sp>
      <p:sp>
        <p:nvSpPr>
          <p:cNvPr id="10" name="Slide Number Placeholder 5">
            <a:extLst>
              <a:ext uri="{FF2B5EF4-FFF2-40B4-BE49-F238E27FC236}">
                <a16:creationId xmlns:a16="http://schemas.microsoft.com/office/drawing/2014/main" id="{F763B415-1F89-9A48-8938-54AD3313F465}"/>
              </a:ext>
            </a:extLst>
          </p:cNvPr>
          <p:cNvSpPr>
            <a:spLocks noGrp="1"/>
          </p:cNvSpPr>
          <p:nvPr>
            <p:ph type="sldNum" sz="quarter" idx="4"/>
          </p:nvPr>
        </p:nvSpPr>
        <p:spPr>
          <a:xfrm>
            <a:off x="11324535" y="224520"/>
            <a:ext cx="428609" cy="365125"/>
          </a:xfrm>
          <a:prstGeom prst="rect">
            <a:avLst/>
          </a:prstGeom>
        </p:spPr>
        <p:txBody>
          <a:bodyPr vert="horz" lIns="91440" tIns="45720" rIns="91440" bIns="45720" rtlCol="0" anchor="t"/>
          <a:lstStyle>
            <a:lvl1pPr algn="l">
              <a:defRPr sz="1400" b="1">
                <a:solidFill>
                  <a:schemeClr val="accent2"/>
                </a:solidFill>
              </a:defRPr>
            </a:lvl1pPr>
          </a:lstStyle>
          <a:p>
            <a:fld id="{5C7892DB-DEDB-A440-9305-CDECCE7FBDC0}" type="slidenum">
              <a:rPr lang="en-US" smtClean="0"/>
              <a:pPr/>
              <a:t>‹#›</a:t>
            </a:fld>
            <a:endParaRPr lang="en-US"/>
          </a:p>
        </p:txBody>
      </p:sp>
      <p:sp>
        <p:nvSpPr>
          <p:cNvPr id="4" name="Title 3">
            <a:extLst>
              <a:ext uri="{FF2B5EF4-FFF2-40B4-BE49-F238E27FC236}">
                <a16:creationId xmlns:a16="http://schemas.microsoft.com/office/drawing/2014/main" id="{5480F0E7-07B5-CF4D-A3C9-1C162F76A8E0}"/>
              </a:ext>
            </a:extLst>
          </p:cNvPr>
          <p:cNvSpPr>
            <a:spLocks noGrp="1"/>
          </p:cNvSpPr>
          <p:nvPr>
            <p:ph type="title"/>
          </p:nvPr>
        </p:nvSpPr>
        <p:spPr/>
        <p:txBody>
          <a:bodyPr/>
          <a:lstStyle/>
          <a:p>
            <a:r>
              <a:rPr lang="en-GB"/>
              <a:t>Click to edit Master title style</a:t>
            </a:r>
            <a:endParaRPr lang="en-US"/>
          </a:p>
        </p:txBody>
      </p:sp>
      <p:sp>
        <p:nvSpPr>
          <p:cNvPr id="5" name="Footer Placeholder 4">
            <a:extLst>
              <a:ext uri="{FF2B5EF4-FFF2-40B4-BE49-F238E27FC236}">
                <a16:creationId xmlns:a16="http://schemas.microsoft.com/office/drawing/2014/main" id="{D8F352D4-BDE5-5C48-BB97-076C276D643C}"/>
              </a:ext>
            </a:extLst>
          </p:cNvPr>
          <p:cNvSpPr>
            <a:spLocks noGrp="1"/>
          </p:cNvSpPr>
          <p:nvPr>
            <p:ph type="ftr" sz="quarter" idx="20"/>
          </p:nvPr>
        </p:nvSpPr>
        <p:spPr/>
        <p:txBody>
          <a:bodyPr/>
          <a:lstStyle/>
          <a:p>
            <a:endParaRPr lang="en-US" sz="1000"/>
          </a:p>
        </p:txBody>
      </p:sp>
    </p:spTree>
    <p:extLst>
      <p:ext uri="{BB962C8B-B14F-4D97-AF65-F5344CB8AC3E}">
        <p14:creationId xmlns:p14="http://schemas.microsoft.com/office/powerpoint/2010/main" val="362637930"/>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9_Title_1 text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ext Placeholder 7">
            <a:extLst>
              <a:ext uri="{FF2B5EF4-FFF2-40B4-BE49-F238E27FC236}">
                <a16:creationId xmlns:a16="http://schemas.microsoft.com/office/drawing/2014/main" id="{4ED4E4DF-40A8-BA46-8009-C8DA36759873}"/>
              </a:ext>
            </a:extLst>
          </p:cNvPr>
          <p:cNvSpPr>
            <a:spLocks noGrp="1"/>
          </p:cNvSpPr>
          <p:nvPr>
            <p:ph type="body" sz="quarter" idx="14"/>
          </p:nvPr>
        </p:nvSpPr>
        <p:spPr>
          <a:xfrm>
            <a:off x="1040130" y="1775793"/>
            <a:ext cx="7155603" cy="4068417"/>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Text Placeholder 27">
            <a:extLst>
              <a:ext uri="{FF2B5EF4-FFF2-40B4-BE49-F238E27FC236}">
                <a16:creationId xmlns:a16="http://schemas.microsoft.com/office/drawing/2014/main" id="{785EDADD-C884-BD4B-A41C-D8E81E0719ED}"/>
              </a:ext>
            </a:extLst>
          </p:cNvPr>
          <p:cNvSpPr>
            <a:spLocks noGrp="1"/>
          </p:cNvSpPr>
          <p:nvPr>
            <p:ph type="body" sz="quarter" idx="19" hasCustomPrompt="1"/>
          </p:nvPr>
        </p:nvSpPr>
        <p:spPr>
          <a:xfrm>
            <a:off x="552091" y="246579"/>
            <a:ext cx="3782308" cy="290352"/>
          </a:xfrm>
          <a:prstGeom prst="rect">
            <a:avLst/>
          </a:prstGeom>
        </p:spPr>
        <p:txBody>
          <a:bodyPr rIns="0" anchor="t">
            <a:normAutofit/>
          </a:bodyPr>
          <a:lstStyle>
            <a:lvl1pPr algn="l">
              <a:buNone/>
              <a:defRPr sz="1200" b="0" i="1">
                <a:solidFill>
                  <a:schemeClr val="tx2"/>
                </a:solidFill>
                <a:latin typeface="+mn-lt"/>
              </a:defRPr>
            </a:lvl1pPr>
          </a:lstStyle>
          <a:p>
            <a:pPr lvl="0"/>
            <a:r>
              <a:rPr lang="en-US"/>
              <a:t>Section name </a:t>
            </a:r>
          </a:p>
        </p:txBody>
      </p:sp>
      <p:sp>
        <p:nvSpPr>
          <p:cNvPr id="10" name="Slide Number Placeholder 5">
            <a:extLst>
              <a:ext uri="{FF2B5EF4-FFF2-40B4-BE49-F238E27FC236}">
                <a16:creationId xmlns:a16="http://schemas.microsoft.com/office/drawing/2014/main" id="{F763B415-1F89-9A48-8938-54AD3313F465}"/>
              </a:ext>
            </a:extLst>
          </p:cNvPr>
          <p:cNvSpPr>
            <a:spLocks noGrp="1"/>
          </p:cNvSpPr>
          <p:nvPr>
            <p:ph type="sldNum" sz="quarter" idx="4"/>
          </p:nvPr>
        </p:nvSpPr>
        <p:spPr>
          <a:xfrm>
            <a:off x="11324535" y="224520"/>
            <a:ext cx="428609" cy="365125"/>
          </a:xfrm>
          <a:prstGeom prst="rect">
            <a:avLst/>
          </a:prstGeom>
        </p:spPr>
        <p:txBody>
          <a:bodyPr vert="horz" lIns="91440" tIns="45720" rIns="91440" bIns="45720" rtlCol="0" anchor="t"/>
          <a:lstStyle>
            <a:lvl1pPr algn="l">
              <a:defRPr sz="1400" b="1">
                <a:solidFill>
                  <a:schemeClr val="accent2"/>
                </a:solidFill>
              </a:defRPr>
            </a:lvl1pPr>
          </a:lstStyle>
          <a:p>
            <a:fld id="{5C7892DB-DEDB-A440-9305-CDECCE7FBDC0}" type="slidenum">
              <a:rPr lang="en-US" smtClean="0"/>
              <a:pPr/>
              <a:t>‹#›</a:t>
            </a:fld>
            <a:endParaRPr lang="en-US"/>
          </a:p>
        </p:txBody>
      </p:sp>
      <p:sp>
        <p:nvSpPr>
          <p:cNvPr id="4" name="Title 3">
            <a:extLst>
              <a:ext uri="{FF2B5EF4-FFF2-40B4-BE49-F238E27FC236}">
                <a16:creationId xmlns:a16="http://schemas.microsoft.com/office/drawing/2014/main" id="{5480F0E7-07B5-CF4D-A3C9-1C162F76A8E0}"/>
              </a:ext>
            </a:extLst>
          </p:cNvPr>
          <p:cNvSpPr>
            <a:spLocks noGrp="1"/>
          </p:cNvSpPr>
          <p:nvPr>
            <p:ph type="title"/>
          </p:nvPr>
        </p:nvSpPr>
        <p:spPr/>
        <p:txBody>
          <a:bodyPr/>
          <a:lstStyle/>
          <a:p>
            <a:r>
              <a:rPr lang="en-GB"/>
              <a:t>Click to edit Master title style</a:t>
            </a:r>
            <a:endParaRPr lang="en-US"/>
          </a:p>
        </p:txBody>
      </p:sp>
      <p:sp>
        <p:nvSpPr>
          <p:cNvPr id="5" name="Footer Placeholder 4">
            <a:extLst>
              <a:ext uri="{FF2B5EF4-FFF2-40B4-BE49-F238E27FC236}">
                <a16:creationId xmlns:a16="http://schemas.microsoft.com/office/drawing/2014/main" id="{D8F352D4-BDE5-5C48-BB97-076C276D643C}"/>
              </a:ext>
            </a:extLst>
          </p:cNvPr>
          <p:cNvSpPr>
            <a:spLocks noGrp="1"/>
          </p:cNvSpPr>
          <p:nvPr>
            <p:ph type="ftr" sz="quarter" idx="20"/>
          </p:nvPr>
        </p:nvSpPr>
        <p:spPr/>
        <p:txBody>
          <a:bodyPr/>
          <a:lstStyle/>
          <a:p>
            <a:endParaRPr lang="en-US" sz="1000"/>
          </a:p>
        </p:txBody>
      </p:sp>
    </p:spTree>
    <p:extLst>
      <p:ext uri="{BB962C8B-B14F-4D97-AF65-F5344CB8AC3E}">
        <p14:creationId xmlns:p14="http://schemas.microsoft.com/office/powerpoint/2010/main" val="787996732"/>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401773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554736" y="197613"/>
            <a:ext cx="11082528" cy="346249"/>
          </a:xfrm>
        </p:spPr>
        <p:txBody>
          <a:bodyPr lIns="0" tIns="0" rIns="0" bIns="0"/>
          <a:lstStyle>
            <a:lvl1pPr>
              <a:defRPr sz="2250" b="1" i="0">
                <a:solidFill>
                  <a:schemeClr val="tx1"/>
                </a:solidFill>
                <a:latin typeface="Arial"/>
                <a:cs typeface="Arial"/>
              </a:defRPr>
            </a:lvl1pPr>
          </a:lstStyle>
          <a:p>
            <a:endParaRPr/>
          </a:p>
        </p:txBody>
      </p:sp>
      <p:sp>
        <p:nvSpPr>
          <p:cNvPr id="3" name="Holder 3"/>
          <p:cNvSpPr>
            <a:spLocks noGrp="1"/>
          </p:cNvSpPr>
          <p:nvPr>
            <p:ph type="body" idx="1"/>
          </p:nvPr>
        </p:nvSpPr>
        <p:spPr>
          <a:xfrm>
            <a:off x="554736" y="1872797"/>
            <a:ext cx="2484655" cy="246221"/>
          </a:xfrm>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1/2022</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98989272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233945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0409016D-B7E7-40C3-B13E-EA55B02BD7B3}"/>
              </a:ext>
            </a:extLst>
          </p:cNvPr>
          <p:cNvPicPr>
            <a:picLocks noChangeAspect="1"/>
          </p:cNvPicPr>
          <p:nvPr userDrawn="1"/>
        </p:nvPicPr>
        <p:blipFill>
          <a:blip r:embed="rId9"/>
          <a:stretch>
            <a:fillRect/>
          </a:stretch>
        </p:blipFill>
        <p:spPr bwMode="ltGray">
          <a:xfrm>
            <a:off x="2429034" y="686688"/>
            <a:ext cx="8020133" cy="3081853"/>
          </a:xfrm>
          <a:prstGeom prst="rect">
            <a:avLst/>
          </a:prstGeom>
        </p:spPr>
      </p:pic>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3"/>
            </p:custDataLst>
          </p:nvPr>
        </p:nvSpPr>
        <p:spPr bwMode="auto">
          <a:xfrm>
            <a:off x="1232602" y="6233090"/>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E6D2C8"/>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4"/>
            </p:custDataLst>
          </p:nvPr>
        </p:nvSpPr>
        <p:spPr bwMode="auto">
          <a:xfrm>
            <a:off x="1232602" y="572324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E6D2C8"/>
                </a:solidFill>
              </a:defRPr>
            </a:lvl1pPr>
          </a:lstStyle>
          <a:p>
            <a:pPr lvl="0">
              <a:buNone/>
            </a:pPr>
            <a:r>
              <a:rPr lang="en-GB"/>
              <a:t>Click to edit Master subtitle style</a:t>
            </a:r>
            <a:endParaRPr lang="en-US"/>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5"/>
            </p:custDataLst>
          </p:nvPr>
        </p:nvSpPr>
        <p:spPr bwMode="auto">
          <a:xfrm>
            <a:off x="1232602" y="4505517"/>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4400" dirty="0">
                <a:solidFill>
                  <a:srgbClr val="E6D2C8"/>
                </a:solidFill>
              </a:defRPr>
            </a:lvl1pPr>
          </a:lstStyle>
          <a:p>
            <a:pPr lvl="0"/>
            <a:r>
              <a:rPr lang="en-GB"/>
              <a:t>Click to edit Master title style</a:t>
            </a:r>
            <a:endParaRPr lang="en-US"/>
          </a:p>
        </p:txBody>
      </p:sp>
      <p:sp>
        <p:nvSpPr>
          <p:cNvPr id="3" name="Rectangle 2">
            <a:extLst>
              <a:ext uri="{FF2B5EF4-FFF2-40B4-BE49-F238E27FC236}">
                <a16:creationId xmlns:a16="http://schemas.microsoft.com/office/drawing/2014/main" id="{69B1C6AD-60DA-DB45-B19D-05CF4A1424A8}"/>
              </a:ext>
            </a:extLst>
          </p:cNvPr>
          <p:cNvSpPr/>
          <p:nvPr userDrawn="1"/>
        </p:nvSpPr>
        <p:spPr>
          <a:xfrm>
            <a:off x="653666" y="409466"/>
            <a:ext cx="10884665" cy="6224530"/>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600">
                <a:solidFill>
                  <a:schemeClr val="bg1"/>
                </a:solidFill>
              </a:rPr>
              <a:t>Do not use for Covid-19 Vaccine Delivery Facility</a:t>
            </a:r>
          </a:p>
        </p:txBody>
      </p:sp>
    </p:spTree>
    <p:extLst>
      <p:ext uri="{BB962C8B-B14F-4D97-AF65-F5344CB8AC3E}">
        <p14:creationId xmlns:p14="http://schemas.microsoft.com/office/powerpoint/2010/main" val="26225216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771529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97613"/>
            <a:ext cx="11082528" cy="384721"/>
          </a:xfrm>
        </p:spPr>
        <p:txBody>
          <a:bodyPr vert="horz" wrap="square" lIns="0" tIns="0" rIns="0" bIns="0" rtlCol="0" anchor="t" anchorCtr="0">
            <a:spAutoFit/>
          </a:bodyPr>
          <a:lstStyle>
            <a:lvl1pPr>
              <a:defRPr lang="en-US" dirty="0"/>
            </a:lvl1pPr>
          </a:lstStyle>
          <a:p>
            <a:pPr lvl="0"/>
            <a:r>
              <a:rPr lang="en-GB"/>
              <a:t>Click to edit Master title style</a:t>
            </a:r>
            <a:endParaRPr lang="en-US"/>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663224"/>
            <a:ext cx="11082528" cy="246221"/>
          </a:xfrm>
          <a:prstGeom prst="rect">
            <a:avLst/>
          </a:prstGeom>
        </p:spPr>
        <p:txBody>
          <a:bodyPr vert="horz" wrap="square" lIns="0" tIns="0" rIns="0" bIns="0" rtlCol="0">
            <a:noAutofit/>
          </a:bodyPr>
          <a:lstStyle>
            <a:lvl1pPr>
              <a:defRPr lang="en-US" b="0" baseline="0" dirty="0"/>
            </a:lvl1pPr>
          </a:lstStyle>
          <a:p>
            <a:pPr lvl="0">
              <a:buNone/>
            </a:pPr>
            <a:r>
              <a:rPr lang="en-GB"/>
              <a:t>Click to edit Master subtitle style</a:t>
            </a:r>
            <a:endParaRPr lang="en-US"/>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2" name="TextBox 1">
            <a:extLst>
              <a:ext uri="{FF2B5EF4-FFF2-40B4-BE49-F238E27FC236}">
                <a16:creationId xmlns:a16="http://schemas.microsoft.com/office/drawing/2014/main" id="{ABD6A43F-F0E0-A54E-9E5C-25453008E10F}"/>
              </a:ext>
            </a:extLst>
          </p:cNvPr>
          <p:cNvSpPr txBox="1"/>
          <p:nvPr userDrawn="1"/>
        </p:nvSpPr>
        <p:spPr>
          <a:xfrm>
            <a:off x="10851614" y="663215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GB" sz="1600"/>
          </a:p>
        </p:txBody>
      </p:sp>
      <p:sp>
        <p:nvSpPr>
          <p:cNvPr id="12" name="Rectangle 11">
            <a:extLst>
              <a:ext uri="{FF2B5EF4-FFF2-40B4-BE49-F238E27FC236}">
                <a16:creationId xmlns:a16="http://schemas.microsoft.com/office/drawing/2014/main" id="{CFC8D804-EAFB-954D-8826-E63DC8819BB0}"/>
              </a:ext>
            </a:extLst>
          </p:cNvPr>
          <p:cNvSpPr/>
          <p:nvPr userDrawn="1"/>
        </p:nvSpPr>
        <p:spPr>
          <a:xfrm>
            <a:off x="10560875" y="6584816"/>
            <a:ext cx="914400" cy="273184"/>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Tree>
    <p:extLst>
      <p:ext uri="{BB962C8B-B14F-4D97-AF65-F5344CB8AC3E}">
        <p14:creationId xmlns:p14="http://schemas.microsoft.com/office/powerpoint/2010/main" val="42616429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11086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anchor="t">
            <a:spAutoFit/>
          </a:bodyPr>
          <a:lstStyle>
            <a:lvl1pPr>
              <a:lnSpc>
                <a:spcPct val="100000"/>
              </a:lnSpc>
              <a:defRPr>
                <a:ln w="6350" cap="flat">
                  <a:noFill/>
                  <a:miter lim="800000"/>
                </a:ln>
              </a:defRPr>
            </a:lvl1pPr>
          </a:lstStyle>
          <a:p>
            <a:r>
              <a:rPr lang="en-GB"/>
              <a:t>Click to edit Master title style</a:t>
            </a:r>
            <a:endParaRPr lang="en-US"/>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052CCADB-EF08-41D8-B6E1-D27B7E0CA862}"/>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AB8E3C2-1F42-4CE8-A611-D37D46F00C39}"/>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Rectangle 12">
            <a:extLst>
              <a:ext uri="{FF2B5EF4-FFF2-40B4-BE49-F238E27FC236}">
                <a16:creationId xmlns:a16="http://schemas.microsoft.com/office/drawing/2014/main" id="{372B96DD-3DE2-B344-A869-96377FCA8DC5}"/>
              </a:ext>
            </a:extLst>
          </p:cNvPr>
          <p:cNvSpPr/>
          <p:nvPr userDrawn="1"/>
        </p:nvSpPr>
        <p:spPr>
          <a:xfrm>
            <a:off x="10560875" y="6584816"/>
            <a:ext cx="914400" cy="273184"/>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Tree>
    <p:extLst>
      <p:ext uri="{BB962C8B-B14F-4D97-AF65-F5344CB8AC3E}">
        <p14:creationId xmlns:p14="http://schemas.microsoft.com/office/powerpoint/2010/main" val="103541873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269058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rIns="365760" anchor="ctr">
            <a:spAutoFit/>
          </a:bodyPr>
          <a:lstStyle>
            <a:lvl1pPr>
              <a:defRPr>
                <a:ln w="6350" cap="flat">
                  <a:noFill/>
                  <a:miter lim="800000"/>
                </a:ln>
              </a:defRPr>
            </a:lvl1pPr>
          </a:lstStyle>
          <a:p>
            <a:r>
              <a:rPr lang="en-GB"/>
              <a:t>Click to edit Master title style</a:t>
            </a:r>
            <a:endParaRPr lang="en-US"/>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833F473-8E59-4468-9DAD-5B5B823CD8A1}"/>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1C278EA2-839A-4B80-8F09-FF155A2123C1}"/>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9" name="Rectangle 8">
            <a:extLst>
              <a:ext uri="{FF2B5EF4-FFF2-40B4-BE49-F238E27FC236}">
                <a16:creationId xmlns:a16="http://schemas.microsoft.com/office/drawing/2014/main" id="{1D5A2D46-9D69-604A-B339-036BB15834C6}"/>
              </a:ext>
            </a:extLst>
          </p:cNvPr>
          <p:cNvSpPr/>
          <p:nvPr userDrawn="1"/>
        </p:nvSpPr>
        <p:spPr>
          <a:xfrm>
            <a:off x="10560875" y="6584816"/>
            <a:ext cx="914400" cy="273184"/>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Tree>
    <p:extLst>
      <p:ext uri="{BB962C8B-B14F-4D97-AF65-F5344CB8AC3E}">
        <p14:creationId xmlns:p14="http://schemas.microsoft.com/office/powerpoint/2010/main" val="22796251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49588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GB"/>
              <a:t>Click to edit Master title style</a:t>
            </a:r>
            <a:endParaRPr lang="en-US"/>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8173826E-A3CF-41AB-8957-9F0B784D192D}"/>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2" name="Rectangle 11">
            <a:extLst>
              <a:ext uri="{FF2B5EF4-FFF2-40B4-BE49-F238E27FC236}">
                <a16:creationId xmlns:a16="http://schemas.microsoft.com/office/drawing/2014/main" id="{D6906805-ED11-9440-812B-1C598FEE4D77}"/>
              </a:ext>
            </a:extLst>
          </p:cNvPr>
          <p:cNvSpPr/>
          <p:nvPr userDrawn="1"/>
        </p:nvSpPr>
        <p:spPr>
          <a:xfrm>
            <a:off x="10560875" y="6584816"/>
            <a:ext cx="914400" cy="273184"/>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Tree>
    <p:extLst>
      <p:ext uri="{BB962C8B-B14F-4D97-AF65-F5344CB8AC3E}">
        <p14:creationId xmlns:p14="http://schemas.microsoft.com/office/powerpoint/2010/main" val="26381751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3356782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anchor="t">
            <a:spAutoFit/>
          </a:bodyPr>
          <a:lstStyle>
            <a:lvl1pPr>
              <a:lnSpc>
                <a:spcPct val="100000"/>
              </a:lnSpc>
              <a:defRPr>
                <a:ln w="6350" cap="flat">
                  <a:noFill/>
                  <a:miter lim="800000"/>
                </a:ln>
              </a:defRPr>
            </a:lvl1pPr>
          </a:lstStyle>
          <a:p>
            <a:r>
              <a:rPr lang="en-GB"/>
              <a:t>Click to edit Master title style</a:t>
            </a:r>
            <a:endParaRPr lang="en-US"/>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052CCADB-EF08-41D8-B6E1-D27B7E0CA862}"/>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AB8E3C2-1F42-4CE8-A611-D37D46F00C39}"/>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65224370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840699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nchor="b">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8A594FF-AF94-4CAC-90E6-2B9A5AB30B15}"/>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Rectangle 12">
            <a:extLst>
              <a:ext uri="{FF2B5EF4-FFF2-40B4-BE49-F238E27FC236}">
                <a16:creationId xmlns:a16="http://schemas.microsoft.com/office/drawing/2014/main" id="{760FB251-557C-8644-9792-5CEFA18E2F40}"/>
              </a:ext>
            </a:extLst>
          </p:cNvPr>
          <p:cNvSpPr/>
          <p:nvPr userDrawn="1"/>
        </p:nvSpPr>
        <p:spPr>
          <a:xfrm>
            <a:off x="10560875" y="6584816"/>
            <a:ext cx="914400" cy="273184"/>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Tree>
    <p:extLst>
      <p:ext uri="{BB962C8B-B14F-4D97-AF65-F5344CB8AC3E}">
        <p14:creationId xmlns:p14="http://schemas.microsoft.com/office/powerpoint/2010/main" val="40582578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940831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GB"/>
              <a:t>Click to edit Master title style</a:t>
            </a:r>
            <a:endParaRPr lang="en-US"/>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8"/>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2D072733-A60B-4F63-8AD0-2B3E938B0D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Rectangle 13">
            <a:extLst>
              <a:ext uri="{FF2B5EF4-FFF2-40B4-BE49-F238E27FC236}">
                <a16:creationId xmlns:a16="http://schemas.microsoft.com/office/drawing/2014/main" id="{80975B6E-5B19-7F42-B23F-DE171AC1F334}"/>
              </a:ext>
            </a:extLst>
          </p:cNvPr>
          <p:cNvSpPr/>
          <p:nvPr userDrawn="1"/>
        </p:nvSpPr>
        <p:spPr>
          <a:xfrm>
            <a:off x="10560875" y="6584816"/>
            <a:ext cx="914400" cy="273184"/>
          </a:xfrm>
          <a:prstGeom prst="rect">
            <a:avLst/>
          </a:prstGeom>
          <a:solidFill>
            <a:srgbClr val="F2E7E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Tree>
    <p:extLst>
      <p:ext uri="{BB962C8B-B14F-4D97-AF65-F5344CB8AC3E}">
        <p14:creationId xmlns:p14="http://schemas.microsoft.com/office/powerpoint/2010/main" val="209445084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659178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GB"/>
              <a:t>Click to edit Master title style</a:t>
            </a:r>
            <a:endParaRPr lang="en-US"/>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041B4B9-5319-4CE5-AD44-D052002504D7}"/>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6A3D6D03-E559-428C-9A40-98FEAB9751A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Rectangle 14">
            <a:extLst>
              <a:ext uri="{FF2B5EF4-FFF2-40B4-BE49-F238E27FC236}">
                <a16:creationId xmlns:a16="http://schemas.microsoft.com/office/drawing/2014/main" id="{A4E97B92-25B2-B849-8B67-903D30B09369}"/>
              </a:ext>
            </a:extLst>
          </p:cNvPr>
          <p:cNvSpPr/>
          <p:nvPr userDrawn="1"/>
        </p:nvSpPr>
        <p:spPr>
          <a:xfrm>
            <a:off x="10560875" y="6584816"/>
            <a:ext cx="914400" cy="273184"/>
          </a:xfrm>
          <a:prstGeom prst="rect">
            <a:avLst/>
          </a:prstGeom>
          <a:solidFill>
            <a:srgbClr val="F2E7E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Tree>
    <p:extLst>
      <p:ext uri="{BB962C8B-B14F-4D97-AF65-F5344CB8AC3E}">
        <p14:creationId xmlns:p14="http://schemas.microsoft.com/office/powerpoint/2010/main" val="112188172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2842718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5065776" cy="384721"/>
          </a:xfrm>
        </p:spPr>
        <p:txBody>
          <a:bodyPr>
            <a:spAutoFit/>
          </a:bodyPr>
          <a:lstStyle/>
          <a:p>
            <a:r>
              <a:rPr lang="en-GB"/>
              <a:t>Click to edit Master title style</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C5A0E3B7-0BEE-434E-9458-04AAF89FE7C4}"/>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8"/>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3C785607-1538-4DA3-A3A9-5896A1AFCCD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Rectangle 14">
            <a:extLst>
              <a:ext uri="{FF2B5EF4-FFF2-40B4-BE49-F238E27FC236}">
                <a16:creationId xmlns:a16="http://schemas.microsoft.com/office/drawing/2014/main" id="{EA37FF94-D129-4744-B67C-FC4D40752292}"/>
              </a:ext>
            </a:extLst>
          </p:cNvPr>
          <p:cNvSpPr/>
          <p:nvPr userDrawn="1"/>
        </p:nvSpPr>
        <p:spPr>
          <a:xfrm>
            <a:off x="10560875" y="6584816"/>
            <a:ext cx="914400" cy="273184"/>
          </a:xfrm>
          <a:prstGeom prst="rect">
            <a:avLst/>
          </a:prstGeom>
          <a:solidFill>
            <a:srgbClr val="F2E7E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Tree>
    <p:extLst>
      <p:ext uri="{BB962C8B-B14F-4D97-AF65-F5344CB8AC3E}">
        <p14:creationId xmlns:p14="http://schemas.microsoft.com/office/powerpoint/2010/main" val="11243836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4138067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97613"/>
            <a:ext cx="6967728" cy="384721"/>
          </a:xfrm>
        </p:spPr>
        <p:txBody>
          <a:bodyPr>
            <a:spAutoFit/>
          </a:bodyPr>
          <a:lstStyle/>
          <a:p>
            <a:r>
              <a:rPr lang="en-GB"/>
              <a:t>Click to edit Master title style</a:t>
            </a:r>
            <a:endParaRPr lang="en-US"/>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663224"/>
            <a:ext cx="6967728"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7C6732C-210A-4A2A-BDB7-ADAA15286F6D}"/>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8"/>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DC93A155-D421-4BAB-ABBB-31DDFA4A7DBF}"/>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Rectangle 14">
            <a:extLst>
              <a:ext uri="{FF2B5EF4-FFF2-40B4-BE49-F238E27FC236}">
                <a16:creationId xmlns:a16="http://schemas.microsoft.com/office/drawing/2014/main" id="{E4376537-8216-7F40-A8E9-CBEFDDDADA80}"/>
              </a:ext>
            </a:extLst>
          </p:cNvPr>
          <p:cNvSpPr/>
          <p:nvPr userDrawn="1"/>
        </p:nvSpPr>
        <p:spPr>
          <a:xfrm>
            <a:off x="10560875" y="6584816"/>
            <a:ext cx="914400" cy="273184"/>
          </a:xfrm>
          <a:prstGeom prst="rect">
            <a:avLst/>
          </a:prstGeom>
          <a:solidFill>
            <a:srgbClr val="F2E7E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Tree>
    <p:extLst>
      <p:ext uri="{BB962C8B-B14F-4D97-AF65-F5344CB8AC3E}">
        <p14:creationId xmlns:p14="http://schemas.microsoft.com/office/powerpoint/2010/main" val="373280866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318513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7918704" cy="384721"/>
          </a:xfrm>
        </p:spPr>
        <p:txBody>
          <a:bodyPr>
            <a:noAutofit/>
          </a:bodyPr>
          <a:lstStyle/>
          <a:p>
            <a:r>
              <a:rPr lang="en-GB"/>
              <a:t>Click to edit Master title style</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3CDFE22D-4BC4-4666-A63A-9CFEED8ECD61}"/>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Rectangle 14">
            <a:extLst>
              <a:ext uri="{FF2B5EF4-FFF2-40B4-BE49-F238E27FC236}">
                <a16:creationId xmlns:a16="http://schemas.microsoft.com/office/drawing/2014/main" id="{A49E2ADC-076B-5E40-B5F3-112DEE9E7D72}"/>
              </a:ext>
            </a:extLst>
          </p:cNvPr>
          <p:cNvSpPr/>
          <p:nvPr userDrawn="1"/>
        </p:nvSpPr>
        <p:spPr>
          <a:xfrm>
            <a:off x="10560875" y="6584816"/>
            <a:ext cx="914400" cy="273184"/>
          </a:xfrm>
          <a:prstGeom prst="rect">
            <a:avLst/>
          </a:prstGeom>
          <a:solidFill>
            <a:srgbClr val="F2E7E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Tree>
    <p:extLst>
      <p:ext uri="{BB962C8B-B14F-4D97-AF65-F5344CB8AC3E}">
        <p14:creationId xmlns:p14="http://schemas.microsoft.com/office/powerpoint/2010/main" val="332031572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637356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97613"/>
            <a:ext cx="11082528" cy="384721"/>
          </a:xfrm>
        </p:spPr>
        <p:txBody>
          <a:bodyPr>
            <a:spAutoFit/>
          </a:bodyPr>
          <a:lstStyle>
            <a:lvl1pPr>
              <a:defRPr/>
            </a:lvl1pPr>
          </a:lstStyle>
          <a:p>
            <a:r>
              <a:rPr lang="en-GB"/>
              <a:t>Click to edit Master title style</a:t>
            </a:r>
            <a:endParaRPr lang="en-US"/>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54F8C1CD-74D5-434C-83F8-B9C7DBB2E26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Freeform 76">
            <a:extLst>
              <a:ext uri="{FF2B5EF4-FFF2-40B4-BE49-F238E27FC236}">
                <a16:creationId xmlns:a16="http://schemas.microsoft.com/office/drawing/2014/main" id="{B55536C7-8F6B-4326-82B7-7D38E0B9328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Rectangle 13">
            <a:extLst>
              <a:ext uri="{FF2B5EF4-FFF2-40B4-BE49-F238E27FC236}">
                <a16:creationId xmlns:a16="http://schemas.microsoft.com/office/drawing/2014/main" id="{A8194170-A082-ED42-8D5B-ED10E796DDB9}"/>
              </a:ext>
            </a:extLst>
          </p:cNvPr>
          <p:cNvSpPr/>
          <p:nvPr userDrawn="1"/>
        </p:nvSpPr>
        <p:spPr>
          <a:xfrm>
            <a:off x="10560875" y="6584816"/>
            <a:ext cx="914400" cy="273184"/>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Tree>
    <p:extLst>
      <p:ext uri="{BB962C8B-B14F-4D97-AF65-F5344CB8AC3E}">
        <p14:creationId xmlns:p14="http://schemas.microsoft.com/office/powerpoint/2010/main" val="375816146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3893764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F3B3D990-55D1-4D16-8683-4CED248BB7FA}"/>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B6A47C52-89C8-4B79-B4A2-FE61BCC240A9}"/>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1" name="Straight Connector 10">
            <a:extLst>
              <a:ext uri="{FF2B5EF4-FFF2-40B4-BE49-F238E27FC236}">
                <a16:creationId xmlns:a16="http://schemas.microsoft.com/office/drawing/2014/main" id="{5631B731-7D3D-4CDD-91A3-61B827F06619}"/>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Freeform 76">
            <a:extLst>
              <a:ext uri="{FF2B5EF4-FFF2-40B4-BE49-F238E27FC236}">
                <a16:creationId xmlns:a16="http://schemas.microsoft.com/office/drawing/2014/main" id="{EABFA487-5A0E-4E66-A2D3-433EED76FB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Rectangle 12">
            <a:extLst>
              <a:ext uri="{FF2B5EF4-FFF2-40B4-BE49-F238E27FC236}">
                <a16:creationId xmlns:a16="http://schemas.microsoft.com/office/drawing/2014/main" id="{A7A993EC-F692-0142-9008-A5643A696852}"/>
              </a:ext>
            </a:extLst>
          </p:cNvPr>
          <p:cNvSpPr/>
          <p:nvPr userDrawn="1"/>
        </p:nvSpPr>
        <p:spPr>
          <a:xfrm>
            <a:off x="10560875" y="6584816"/>
            <a:ext cx="914400" cy="273184"/>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Tree>
    <p:extLst>
      <p:ext uri="{BB962C8B-B14F-4D97-AF65-F5344CB8AC3E}">
        <p14:creationId xmlns:p14="http://schemas.microsoft.com/office/powerpoint/2010/main" val="345876508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743505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E320337-4448-4A41-97CD-D612E7679AE8}"/>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8E4B11B2-546C-408D-9DAD-CF8549840738}"/>
              </a:ext>
            </a:extLst>
          </p:cNvPr>
          <p:cNvPicPr>
            <a:picLocks noChangeAspect="1"/>
          </p:cNvPicPr>
          <p:nvPr userDrawn="1"/>
        </p:nvPicPr>
        <p:blipFill>
          <a:blip r:embed="rId5"/>
          <a:stretch>
            <a:fillRect/>
          </a:stretch>
        </p:blipFill>
        <p:spPr bwMode="ltGray">
          <a:xfrm>
            <a:off x="2085934" y="1524965"/>
            <a:ext cx="8020133" cy="3081853"/>
          </a:xfrm>
          <a:prstGeom prst="rect">
            <a:avLst/>
          </a:prstGeom>
        </p:spPr>
      </p:pic>
      <p:sp>
        <p:nvSpPr>
          <p:cNvPr id="7" name="TextBox 6">
            <a:extLst>
              <a:ext uri="{FF2B5EF4-FFF2-40B4-BE49-F238E27FC236}">
                <a16:creationId xmlns:a16="http://schemas.microsoft.com/office/drawing/2014/main" id="{D694540B-7619-4C7B-9C99-2940C1B16A7F}"/>
              </a:ext>
            </a:extLst>
          </p:cNvPr>
          <p:cNvSpPr txBox="1"/>
          <p:nvPr userDrawn="1"/>
        </p:nvSpPr>
        <p:spPr bwMode="auto">
          <a:xfrm>
            <a:off x="4064000" y="5428664"/>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rPr>
              <a:t>Thank you</a:t>
            </a:r>
          </a:p>
        </p:txBody>
      </p:sp>
      <p:sp>
        <p:nvSpPr>
          <p:cNvPr id="8" name="Rectangle 7">
            <a:extLst>
              <a:ext uri="{FF2B5EF4-FFF2-40B4-BE49-F238E27FC236}">
                <a16:creationId xmlns:a16="http://schemas.microsoft.com/office/drawing/2014/main" id="{8EFF67E0-3229-234F-A27A-8C4BC23AA572}"/>
              </a:ext>
            </a:extLst>
          </p:cNvPr>
          <p:cNvSpPr/>
          <p:nvPr userDrawn="1"/>
        </p:nvSpPr>
        <p:spPr>
          <a:xfrm>
            <a:off x="826265" y="352540"/>
            <a:ext cx="10884665" cy="6224530"/>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600">
                <a:solidFill>
                  <a:schemeClr val="bg1"/>
                </a:solidFill>
              </a:rPr>
              <a:t>Do not use for Covid-19 Vaccine Delivery Facility</a:t>
            </a:r>
          </a:p>
        </p:txBody>
      </p:sp>
    </p:spTree>
    <p:extLst>
      <p:ext uri="{BB962C8B-B14F-4D97-AF65-F5344CB8AC3E}">
        <p14:creationId xmlns:p14="http://schemas.microsoft.com/office/powerpoint/2010/main" val="119169430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nd Vertical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263D28E-A044-4A27-8E65-0B05919B7502}"/>
              </a:ext>
            </a:extLst>
          </p:cNvPr>
          <p:cNvGraphicFramePr>
            <a:graphicFrameLocks noChangeAspect="1"/>
          </p:cNvGraphicFramePr>
          <p:nvPr userDrawn="1">
            <p:custDataLst>
              <p:tags r:id="rId1"/>
            </p:custDataLst>
            <p:extLst>
              <p:ext uri="{D42A27DB-BD31-4B8C-83A1-F6EECF244321}">
                <p14:modId xmlns:p14="http://schemas.microsoft.com/office/powerpoint/2010/main" val="1949766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7" name="Object 6" hidden="1">
                        <a:extLst>
                          <a:ext uri="{FF2B5EF4-FFF2-40B4-BE49-F238E27FC236}">
                            <a16:creationId xmlns:a16="http://schemas.microsoft.com/office/drawing/2014/main" id="{2263D28E-A044-4A27-8E65-0B05919B75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70D23964-C4D9-4E4D-9E13-E4AD5F9F44BA}"/>
              </a:ext>
            </a:extLst>
          </p:cNvPr>
          <p:cNvSpPr/>
          <p:nvPr userDrawn="1"/>
        </p:nvSpPr>
        <p:spPr>
          <a:xfrm>
            <a:off x="10560875" y="6584816"/>
            <a:ext cx="914400" cy="273184"/>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Tree>
    <p:extLst>
      <p:ext uri="{BB962C8B-B14F-4D97-AF65-F5344CB8AC3E}">
        <p14:creationId xmlns:p14="http://schemas.microsoft.com/office/powerpoint/2010/main" val="14466393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2632991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rIns="365760" anchor="ctr">
            <a:spAutoFit/>
          </a:bodyPr>
          <a:lstStyle>
            <a:lvl1pPr>
              <a:defRPr>
                <a:ln w="6350" cap="flat">
                  <a:noFill/>
                  <a:miter lim="800000"/>
                </a:ln>
              </a:defRPr>
            </a:lvl1pPr>
          </a:lstStyle>
          <a:p>
            <a:r>
              <a:rPr lang="en-GB"/>
              <a:t>Click to edit Master title style</a:t>
            </a:r>
            <a:endParaRPr lang="en-US"/>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833F473-8E59-4468-9DAD-5B5B823CD8A1}"/>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1C278EA2-839A-4B80-8F09-FF155A2123C1}"/>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56160487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7_Title_2 text columns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2"/>
            </p:custDataLst>
          </p:nvPr>
        </p:nvSpPr>
        <p:spPr>
          <a:xfrm>
            <a:off x="1" y="0"/>
            <a:ext cx="158751"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1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sp>
        <p:nvSpPr>
          <p:cNvPr id="15" name="Text Placeholder 7">
            <a:extLst>
              <a:ext uri="{FF2B5EF4-FFF2-40B4-BE49-F238E27FC236}">
                <a16:creationId xmlns:a16="http://schemas.microsoft.com/office/drawing/2014/main" id="{0C77F5A8-3CBB-5F43-8C9C-BD95C7518998}"/>
              </a:ext>
            </a:extLst>
          </p:cNvPr>
          <p:cNvSpPr>
            <a:spLocks noGrp="1"/>
          </p:cNvSpPr>
          <p:nvPr>
            <p:ph type="body" sz="quarter" idx="17"/>
          </p:nvPr>
        </p:nvSpPr>
        <p:spPr>
          <a:xfrm>
            <a:off x="6073366" y="1668219"/>
            <a:ext cx="5319247" cy="406841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27">
            <a:extLst>
              <a:ext uri="{FF2B5EF4-FFF2-40B4-BE49-F238E27FC236}">
                <a16:creationId xmlns:a16="http://schemas.microsoft.com/office/drawing/2014/main" id="{CFF1C99E-F26C-8B48-9830-A731A6CD6696}"/>
              </a:ext>
            </a:extLst>
          </p:cNvPr>
          <p:cNvSpPr>
            <a:spLocks noGrp="1"/>
          </p:cNvSpPr>
          <p:nvPr>
            <p:ph type="body" sz="quarter" idx="19" hasCustomPrompt="1"/>
          </p:nvPr>
        </p:nvSpPr>
        <p:spPr>
          <a:xfrm>
            <a:off x="552091" y="246579"/>
            <a:ext cx="3782308" cy="290352"/>
          </a:xfrm>
          <a:prstGeom prst="rect">
            <a:avLst/>
          </a:prstGeom>
        </p:spPr>
        <p:txBody>
          <a:bodyPr rIns="0" anchor="t">
            <a:normAutofit/>
          </a:bodyPr>
          <a:lstStyle>
            <a:lvl1pPr algn="l">
              <a:buNone/>
              <a:defRPr sz="900" b="0" i="1">
                <a:solidFill>
                  <a:schemeClr val="tx2"/>
                </a:solidFill>
                <a:latin typeface="+mn-lt"/>
              </a:defRPr>
            </a:lvl1pPr>
          </a:lstStyle>
          <a:p>
            <a:pPr lvl="0"/>
            <a:r>
              <a:rPr lang="en-US"/>
              <a:t>Section name </a:t>
            </a:r>
          </a:p>
        </p:txBody>
      </p:sp>
      <p:sp>
        <p:nvSpPr>
          <p:cNvPr id="14" name="Slide Number Placeholder 5">
            <a:extLst>
              <a:ext uri="{FF2B5EF4-FFF2-40B4-BE49-F238E27FC236}">
                <a16:creationId xmlns:a16="http://schemas.microsoft.com/office/drawing/2014/main" id="{F24F3FBC-0E6C-C449-A900-102CABF0C5B1}"/>
              </a:ext>
            </a:extLst>
          </p:cNvPr>
          <p:cNvSpPr>
            <a:spLocks noGrp="1"/>
          </p:cNvSpPr>
          <p:nvPr>
            <p:ph type="sldNum" sz="quarter" idx="4"/>
          </p:nvPr>
        </p:nvSpPr>
        <p:spPr>
          <a:xfrm>
            <a:off x="11324537" y="224522"/>
            <a:ext cx="428609" cy="365125"/>
          </a:xfrm>
          <a:prstGeom prst="rect">
            <a:avLst/>
          </a:prstGeom>
        </p:spPr>
        <p:txBody>
          <a:bodyPr vert="horz" lIns="91440" tIns="45720" rIns="91440" bIns="45720" rtlCol="0" anchor="t"/>
          <a:lstStyle>
            <a:lvl1pPr algn="l">
              <a:defRPr sz="1050" b="1">
                <a:solidFill>
                  <a:schemeClr val="accent2"/>
                </a:solidFill>
              </a:defRPr>
            </a:lvl1pPr>
          </a:lstStyle>
          <a:p>
            <a:fld id="{5C7892DB-DEDB-A440-9305-CDECCE7FBDC0}" type="slidenum">
              <a:rPr lang="en-US" smtClean="0"/>
              <a:pPr/>
              <a:t>‹#›</a:t>
            </a:fld>
            <a:endParaRPr lang="en-US"/>
          </a:p>
        </p:txBody>
      </p:sp>
      <p:sp>
        <p:nvSpPr>
          <p:cNvPr id="4" name="Title 3">
            <a:extLst>
              <a:ext uri="{FF2B5EF4-FFF2-40B4-BE49-F238E27FC236}">
                <a16:creationId xmlns:a16="http://schemas.microsoft.com/office/drawing/2014/main" id="{B747B00D-C86A-D947-9782-3D7CB86D7AC9}"/>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18AF1095-F35B-9545-B681-37086B5FAFD6}"/>
              </a:ext>
            </a:extLst>
          </p:cNvPr>
          <p:cNvSpPr>
            <a:spLocks noGrp="1"/>
          </p:cNvSpPr>
          <p:nvPr>
            <p:ph type="ftr" sz="quarter" idx="20"/>
          </p:nvPr>
        </p:nvSpPr>
        <p:spPr/>
        <p:txBody>
          <a:bodyPr/>
          <a:lstStyle/>
          <a:p>
            <a:endParaRPr lang="en-US" sz="750"/>
          </a:p>
        </p:txBody>
      </p:sp>
    </p:spTree>
    <p:extLst>
      <p:ext uri="{BB962C8B-B14F-4D97-AF65-F5344CB8AC3E}">
        <p14:creationId xmlns:p14="http://schemas.microsoft.com/office/powerpoint/2010/main" val="2553234412"/>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itle_2 text columns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9" name="Slide Number Placeholder 8">
            <a:extLst>
              <a:ext uri="{FF2B5EF4-FFF2-40B4-BE49-F238E27FC236}">
                <a16:creationId xmlns:a16="http://schemas.microsoft.com/office/drawing/2014/main" id="{B96C500B-D9EC-5347-8E16-C455F6F04DC6}"/>
              </a:ext>
            </a:extLst>
          </p:cNvPr>
          <p:cNvSpPr>
            <a:spLocks noGrp="1"/>
          </p:cNvSpPr>
          <p:nvPr>
            <p:ph type="sldNum" sz="quarter" idx="16"/>
          </p:nvPr>
        </p:nvSpPr>
        <p:spPr/>
        <p:txBody>
          <a:bodyPr/>
          <a:lstStyle/>
          <a:p>
            <a:fld id="{5C7892DB-DEDB-A440-9305-CDECCE7FBDC0}" type="slidenum">
              <a:rPr lang="en-US" smtClean="0"/>
              <a:t>‹#›</a:t>
            </a:fld>
            <a:endParaRPr lang="en-US"/>
          </a:p>
        </p:txBody>
      </p:sp>
      <p:sp>
        <p:nvSpPr>
          <p:cNvPr id="11" name="Text Placeholder 7">
            <a:extLst>
              <a:ext uri="{FF2B5EF4-FFF2-40B4-BE49-F238E27FC236}">
                <a16:creationId xmlns:a16="http://schemas.microsoft.com/office/drawing/2014/main" id="{41DB38B2-0368-E24D-BCA7-9A22F3C6F543}"/>
              </a:ext>
            </a:extLst>
          </p:cNvPr>
          <p:cNvSpPr>
            <a:spLocks noGrp="1"/>
          </p:cNvSpPr>
          <p:nvPr>
            <p:ph type="body" sz="quarter" idx="14"/>
          </p:nvPr>
        </p:nvSpPr>
        <p:spPr>
          <a:xfrm>
            <a:off x="1040131" y="1775793"/>
            <a:ext cx="3211830" cy="406841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Text Placeholder 7">
            <a:extLst>
              <a:ext uri="{FF2B5EF4-FFF2-40B4-BE49-F238E27FC236}">
                <a16:creationId xmlns:a16="http://schemas.microsoft.com/office/drawing/2014/main" id="{360E3780-63D8-B44A-842E-BC8E859E9A6A}"/>
              </a:ext>
            </a:extLst>
          </p:cNvPr>
          <p:cNvSpPr>
            <a:spLocks noGrp="1"/>
          </p:cNvSpPr>
          <p:nvPr>
            <p:ph type="body" sz="quarter" idx="17"/>
          </p:nvPr>
        </p:nvSpPr>
        <p:spPr>
          <a:xfrm>
            <a:off x="4560571" y="1775793"/>
            <a:ext cx="3211830" cy="406841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7" name="Text Placeholder 7">
            <a:extLst>
              <a:ext uri="{FF2B5EF4-FFF2-40B4-BE49-F238E27FC236}">
                <a16:creationId xmlns:a16="http://schemas.microsoft.com/office/drawing/2014/main" id="{4EB5EC20-128B-2646-94F0-18F4ACE74596}"/>
              </a:ext>
            </a:extLst>
          </p:cNvPr>
          <p:cNvSpPr>
            <a:spLocks noGrp="1"/>
          </p:cNvSpPr>
          <p:nvPr>
            <p:ph type="body" sz="quarter" idx="21"/>
          </p:nvPr>
        </p:nvSpPr>
        <p:spPr>
          <a:xfrm>
            <a:off x="8088630" y="1775793"/>
            <a:ext cx="3211830" cy="406841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8" name="Text Placeholder 27">
            <a:extLst>
              <a:ext uri="{FF2B5EF4-FFF2-40B4-BE49-F238E27FC236}">
                <a16:creationId xmlns:a16="http://schemas.microsoft.com/office/drawing/2014/main" id="{F71E1128-B6E4-AF41-90D1-7A1E36A7A5BF}"/>
              </a:ext>
            </a:extLst>
          </p:cNvPr>
          <p:cNvSpPr>
            <a:spLocks noGrp="1"/>
          </p:cNvSpPr>
          <p:nvPr>
            <p:ph type="body" sz="quarter" idx="13" hasCustomPrompt="1"/>
          </p:nvPr>
        </p:nvSpPr>
        <p:spPr>
          <a:xfrm>
            <a:off x="5686816" y="246579"/>
            <a:ext cx="5499646" cy="279514"/>
          </a:xfrm>
        </p:spPr>
        <p:txBody>
          <a:bodyPr rIns="0" anchor="t">
            <a:normAutofit/>
          </a:bodyPr>
          <a:lstStyle>
            <a:lvl1pPr algn="r">
              <a:buNone/>
              <a:defRPr sz="1200" b="0">
                <a:latin typeface="+mn-lt"/>
              </a:defRPr>
            </a:lvl1pPr>
          </a:lstStyle>
          <a:p>
            <a:pPr lvl="0"/>
            <a:r>
              <a:rPr lang="en-US"/>
              <a:t>Section name |</a:t>
            </a:r>
          </a:p>
        </p:txBody>
      </p:sp>
      <p:sp>
        <p:nvSpPr>
          <p:cNvPr id="19" name="Rectangle 18">
            <a:extLst>
              <a:ext uri="{FF2B5EF4-FFF2-40B4-BE49-F238E27FC236}">
                <a16:creationId xmlns:a16="http://schemas.microsoft.com/office/drawing/2014/main" id="{0A2CDF3B-E28D-A549-A5A7-B7E1A1E5A035}"/>
              </a:ext>
            </a:extLst>
          </p:cNvPr>
          <p:cNvSpPr/>
          <p:nvPr userDrawn="1"/>
        </p:nvSpPr>
        <p:spPr bwMode="white">
          <a:xfrm>
            <a:off x="0" y="6739466"/>
            <a:ext cx="12192000" cy="118533"/>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4" name="Title 3">
            <a:extLst>
              <a:ext uri="{FF2B5EF4-FFF2-40B4-BE49-F238E27FC236}">
                <a16:creationId xmlns:a16="http://schemas.microsoft.com/office/drawing/2014/main" id="{9FD63F86-1F0E-0C41-96CA-7C301A7ADDBD}"/>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1076930733"/>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_1 text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0" name="Title 19">
            <a:extLst>
              <a:ext uri="{FF2B5EF4-FFF2-40B4-BE49-F238E27FC236}">
                <a16:creationId xmlns:a16="http://schemas.microsoft.com/office/drawing/2014/main" id="{0A75B8BC-6ADC-BC40-8446-A30BADE3EFD2}"/>
              </a:ext>
            </a:extLst>
          </p:cNvPr>
          <p:cNvSpPr>
            <a:spLocks noGrp="1"/>
          </p:cNvSpPr>
          <p:nvPr>
            <p:ph type="title"/>
          </p:nvPr>
        </p:nvSpPr>
        <p:spPr>
          <a:xfrm>
            <a:off x="578552" y="805392"/>
            <a:ext cx="10607189" cy="537986"/>
          </a:xfrm>
        </p:spPr>
        <p:txBody>
          <a:bodyPr>
            <a:noAutofit/>
          </a:bodyPr>
          <a:lstStyle>
            <a:lvl1pPr>
              <a:defRPr sz="2400">
                <a:solidFill>
                  <a:schemeClr val="accent1"/>
                </a:solidFill>
              </a:defRPr>
            </a:lvl1pPr>
          </a:lstStyle>
          <a:p>
            <a:r>
              <a:rPr lang="en-US"/>
              <a:t>Click to edit Master title style</a:t>
            </a:r>
          </a:p>
        </p:txBody>
      </p:sp>
      <p:sp>
        <p:nvSpPr>
          <p:cNvPr id="8" name="Text Placeholder 7">
            <a:extLst>
              <a:ext uri="{FF2B5EF4-FFF2-40B4-BE49-F238E27FC236}">
                <a16:creationId xmlns:a16="http://schemas.microsoft.com/office/drawing/2014/main" id="{4ED4E4DF-40A8-BA46-8009-C8DA36759873}"/>
              </a:ext>
            </a:extLst>
          </p:cNvPr>
          <p:cNvSpPr>
            <a:spLocks noGrp="1"/>
          </p:cNvSpPr>
          <p:nvPr>
            <p:ph type="body" sz="quarter" idx="14"/>
          </p:nvPr>
        </p:nvSpPr>
        <p:spPr>
          <a:xfrm>
            <a:off x="1040130" y="1595170"/>
            <a:ext cx="10158138" cy="4068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B96C500B-D9EC-5347-8E16-C455F6F04DC6}"/>
              </a:ext>
            </a:extLst>
          </p:cNvPr>
          <p:cNvSpPr>
            <a:spLocks noGrp="1"/>
          </p:cNvSpPr>
          <p:nvPr>
            <p:ph type="sldNum" sz="quarter" idx="16"/>
          </p:nvPr>
        </p:nvSpPr>
        <p:spPr/>
        <p:txBody>
          <a:bodyPr/>
          <a:lstStyle/>
          <a:p>
            <a:fld id="{5C7892DB-DEDB-A440-9305-CDECCE7FBDC0}" type="slidenum">
              <a:rPr lang="en-US" smtClean="0"/>
              <a:t>‹#›</a:t>
            </a:fld>
            <a:endParaRPr lang="en-US"/>
          </a:p>
        </p:txBody>
      </p:sp>
      <p:sp>
        <p:nvSpPr>
          <p:cNvPr id="10" name="Text Placeholder 27">
            <a:extLst>
              <a:ext uri="{FF2B5EF4-FFF2-40B4-BE49-F238E27FC236}">
                <a16:creationId xmlns:a16="http://schemas.microsoft.com/office/drawing/2014/main" id="{5DA822C1-B4F8-F446-AC19-7FDBBA08DC8C}"/>
              </a:ext>
            </a:extLst>
          </p:cNvPr>
          <p:cNvSpPr>
            <a:spLocks noGrp="1"/>
          </p:cNvSpPr>
          <p:nvPr>
            <p:ph type="body" sz="quarter" idx="13" hasCustomPrompt="1"/>
          </p:nvPr>
        </p:nvSpPr>
        <p:spPr>
          <a:xfrm>
            <a:off x="6263014" y="246579"/>
            <a:ext cx="4923448" cy="279514"/>
          </a:xfrm>
        </p:spPr>
        <p:txBody>
          <a:bodyPr rIns="0" anchor="t">
            <a:normAutofit/>
          </a:bodyPr>
          <a:lstStyle>
            <a:lvl1pPr algn="r">
              <a:buNone/>
              <a:defRPr sz="1200" b="0">
                <a:latin typeface="+mn-lt"/>
              </a:defRPr>
            </a:lvl1pPr>
          </a:lstStyle>
          <a:p>
            <a:pPr lvl="0"/>
            <a:r>
              <a:rPr lang="en-US"/>
              <a:t>Section name |</a:t>
            </a:r>
          </a:p>
        </p:txBody>
      </p:sp>
      <p:sp>
        <p:nvSpPr>
          <p:cNvPr id="11" name="Rectangle 10">
            <a:extLst>
              <a:ext uri="{FF2B5EF4-FFF2-40B4-BE49-F238E27FC236}">
                <a16:creationId xmlns:a16="http://schemas.microsoft.com/office/drawing/2014/main" id="{A9EBE7F3-63AB-E74B-BC4F-2742BEF2D331}"/>
              </a:ext>
            </a:extLst>
          </p:cNvPr>
          <p:cNvSpPr/>
          <p:nvPr userDrawn="1"/>
        </p:nvSpPr>
        <p:spPr bwMode="white">
          <a:xfrm>
            <a:off x="0" y="6739466"/>
            <a:ext cx="12192000" cy="118533"/>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262057704"/>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4155704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GB"/>
              <a:t>Click to edit Master title style</a:t>
            </a:r>
            <a:endParaRPr lang="en-US"/>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8173826E-A3CF-41AB-8957-9F0B784D192D}"/>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8559410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00174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nchor="b">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8A594FF-AF94-4CAC-90E6-2B9A5AB30B15}"/>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0882278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27992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GB"/>
              <a:t>Click to edit Master title style</a:t>
            </a:r>
            <a:endParaRPr lang="en-US"/>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8"/>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1861858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1353977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GB"/>
              <a:t>Click to edit Master title style</a:t>
            </a:r>
            <a:endParaRPr lang="en-US"/>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041B4B9-5319-4CE5-AD44-D052002504D7}"/>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42319164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055521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5065776" cy="384721"/>
          </a:xfrm>
        </p:spPr>
        <p:txBody>
          <a:bodyPr>
            <a:spAutoFit/>
          </a:bodyPr>
          <a:lstStyle/>
          <a:p>
            <a:r>
              <a:rPr lang="en-GB"/>
              <a:t>Click to edit Master title style</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C5A0E3B7-0BEE-434E-9458-04AAF89FE7C4}"/>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8"/>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69335535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9" Type="http://schemas.openxmlformats.org/officeDocument/2006/relationships/tags" Target="../tags/tag15.xml"/><Relationship Id="rId21" Type="http://schemas.openxmlformats.org/officeDocument/2006/relationships/slideLayout" Target="../slideLayouts/slideLayout21.xml"/><Relationship Id="rId34" Type="http://schemas.openxmlformats.org/officeDocument/2006/relationships/tags" Target="../tags/tag10.xml"/><Relationship Id="rId42" Type="http://schemas.openxmlformats.org/officeDocument/2006/relationships/tags" Target="../tags/tag18.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8.xml"/><Relationship Id="rId37" Type="http://schemas.openxmlformats.org/officeDocument/2006/relationships/tags" Target="../tags/tag13.xml"/><Relationship Id="rId40" Type="http://schemas.openxmlformats.org/officeDocument/2006/relationships/tags" Target="../tags/tag16.xml"/><Relationship Id="rId45" Type="http://schemas.openxmlformats.org/officeDocument/2006/relationships/tags" Target="../tags/tag2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4.xml"/><Relationship Id="rId36" Type="http://schemas.openxmlformats.org/officeDocument/2006/relationships/tags" Target="../tags/tag1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7.xml"/><Relationship Id="rId44" Type="http://schemas.openxmlformats.org/officeDocument/2006/relationships/tags" Target="../tags/tag2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3.xml"/><Relationship Id="rId30" Type="http://schemas.openxmlformats.org/officeDocument/2006/relationships/tags" Target="../tags/tag6.xml"/><Relationship Id="rId35" Type="http://schemas.openxmlformats.org/officeDocument/2006/relationships/tags" Target="../tags/tag11.xml"/><Relationship Id="rId43" Type="http://schemas.openxmlformats.org/officeDocument/2006/relationships/tags" Target="../tags/tag19.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tags" Target="../tags/tag9.xml"/><Relationship Id="rId38" Type="http://schemas.openxmlformats.org/officeDocument/2006/relationships/tags" Target="../tags/tag14.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tags" Target="../tags/tag1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tags" Target="../tags/tag131.xml"/><Relationship Id="rId39" Type="http://schemas.openxmlformats.org/officeDocument/2006/relationships/tags" Target="../tags/tag144.xml"/><Relationship Id="rId21" Type="http://schemas.openxmlformats.org/officeDocument/2006/relationships/tags" Target="../tags/tag126.xml"/><Relationship Id="rId34" Type="http://schemas.openxmlformats.org/officeDocument/2006/relationships/tags" Target="../tags/tag139.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tags" Target="../tags/tag125.xml"/><Relationship Id="rId29" Type="http://schemas.openxmlformats.org/officeDocument/2006/relationships/tags" Target="../tags/tag134.xml"/><Relationship Id="rId41" Type="http://schemas.openxmlformats.org/officeDocument/2006/relationships/image" Target="../media/image1.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tags" Target="../tags/tag129.xml"/><Relationship Id="rId32" Type="http://schemas.openxmlformats.org/officeDocument/2006/relationships/tags" Target="../tags/tag137.xml"/><Relationship Id="rId37" Type="http://schemas.openxmlformats.org/officeDocument/2006/relationships/tags" Target="../tags/tag142.xml"/><Relationship Id="rId40" Type="http://schemas.openxmlformats.org/officeDocument/2006/relationships/oleObject" Target="../embeddings/oleObject24.bin"/><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tags" Target="../tags/tag128.xml"/><Relationship Id="rId28" Type="http://schemas.openxmlformats.org/officeDocument/2006/relationships/tags" Target="../tags/tag133.xml"/><Relationship Id="rId36" Type="http://schemas.openxmlformats.org/officeDocument/2006/relationships/tags" Target="../tags/tag141.xml"/><Relationship Id="rId10" Type="http://schemas.openxmlformats.org/officeDocument/2006/relationships/slideLayout" Target="../slideLayouts/slideLayout34.xml"/><Relationship Id="rId19" Type="http://schemas.openxmlformats.org/officeDocument/2006/relationships/theme" Target="../theme/theme2.xml"/><Relationship Id="rId31" Type="http://schemas.openxmlformats.org/officeDocument/2006/relationships/tags" Target="../tags/tag136.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tags" Target="../tags/tag127.xml"/><Relationship Id="rId27" Type="http://schemas.openxmlformats.org/officeDocument/2006/relationships/tags" Target="../tags/tag132.xml"/><Relationship Id="rId30" Type="http://schemas.openxmlformats.org/officeDocument/2006/relationships/tags" Target="../tags/tag135.xml"/><Relationship Id="rId35" Type="http://schemas.openxmlformats.org/officeDocument/2006/relationships/tags" Target="../tags/tag140.xml"/><Relationship Id="rId8" Type="http://schemas.openxmlformats.org/officeDocument/2006/relationships/slideLayout" Target="../slideLayouts/slideLayout32.xml"/><Relationship Id="rId3" Type="http://schemas.openxmlformats.org/officeDocument/2006/relationships/slideLayout" Target="../slideLayouts/slideLayout27.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ags" Target="../tags/tag130.xml"/><Relationship Id="rId33" Type="http://schemas.openxmlformats.org/officeDocument/2006/relationships/tags" Target="../tags/tag138.xml"/><Relationship Id="rId38" Type="http://schemas.openxmlformats.org/officeDocument/2006/relationships/tags" Target="../tags/tag1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6"/>
            </p:custDataLst>
            <p:extLst>
              <p:ext uri="{D42A27DB-BD31-4B8C-83A1-F6EECF244321}">
                <p14:modId xmlns:p14="http://schemas.microsoft.com/office/powerpoint/2010/main" val="2002615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6" imgW="413" imgH="416" progId="TCLayout.ActiveDocument.1">
                  <p:embed/>
                </p:oleObj>
              </mc:Choice>
              <mc:Fallback>
                <p:oleObj name="think-cell Slide" r:id="rId46"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8"/>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9"/>
            </p:custDataLst>
          </p:nvPr>
        </p:nvSpPr>
        <p:spPr>
          <a:xfrm>
            <a:off x="554736" y="197613"/>
            <a:ext cx="11082528" cy="384721"/>
          </a:xfrm>
          <a:prstGeom prst="rect">
            <a:avLst/>
          </a:prstGeom>
        </p:spPr>
        <p:txBody>
          <a:bodyPr vert="horz" wrap="square" lIns="0" tIns="0" rIns="0" bIns="0" rtlCol="0" anchor="t" anchorCtr="0">
            <a:spAutoFit/>
          </a:bodyPr>
          <a:lstStyle/>
          <a:p>
            <a:pPr lvl="0"/>
            <a:r>
              <a:rPr lang="en-GB"/>
              <a:t>Click to edit Master title style</a:t>
            </a:r>
            <a:endParaRPr lang="en-US"/>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30"/>
            </p:custDataLst>
          </p:nvPr>
        </p:nvSpPr>
        <p:spPr>
          <a:xfrm>
            <a:off x="5987738" y="1872797"/>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1872797"/>
            <a:ext cx="2484655" cy="1631216"/>
          </a:xfrm>
          <a:prstGeom prst="rect">
            <a:avLst/>
          </a:prstGeom>
        </p:spPr>
        <p:txBody>
          <a:bodyPr vert="horz" wrap="square"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31"/>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5" name="Arc 214">
                <a:extLst>
                  <a:ext uri="{FF2B5EF4-FFF2-40B4-BE49-F238E27FC236}">
                    <a16:creationId xmlns:a16="http://schemas.microsoft.com/office/drawing/2014/main" id="{F9B15371-13C6-4FC5-A65B-0EDE237980EC}"/>
                  </a:ext>
                </a:extLst>
              </p:cNvPr>
              <p:cNvSpPr/>
              <p:nvPr>
                <p:custDataLst>
                  <p:tags r:id="rId4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32"/>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3" name="Arc 212">
                <a:extLst>
                  <a:ext uri="{FF2B5EF4-FFF2-40B4-BE49-F238E27FC236}">
                    <a16:creationId xmlns:a16="http://schemas.microsoft.com/office/drawing/2014/main" id="{D743921E-6D1E-4571-B683-6DAA333BDEC0}"/>
                  </a:ext>
                </a:extLst>
              </p:cNvPr>
              <p:cNvSpPr/>
              <p:nvPr>
                <p:custDataLst>
                  <p:tags r:id="rId4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33"/>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1" name="Arc 210">
                <a:extLst>
                  <a:ext uri="{FF2B5EF4-FFF2-40B4-BE49-F238E27FC236}">
                    <a16:creationId xmlns:a16="http://schemas.microsoft.com/office/drawing/2014/main" id="{03D44525-7618-42C3-A26B-9CC5DF2D2566}"/>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34"/>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09" name="Arc 208">
                <a:extLst>
                  <a:ext uri="{FF2B5EF4-FFF2-40B4-BE49-F238E27FC236}">
                    <a16:creationId xmlns:a16="http://schemas.microsoft.com/office/drawing/2014/main" id="{4EE447D4-D1F3-48FC-A5DF-CC5107A778A6}"/>
                  </a:ext>
                </a:extLst>
              </p:cNvPr>
              <p:cNvSpPr/>
              <p:nvPr>
                <p:custDataLst>
                  <p:tags r:id="rId3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35"/>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07" name="Arc 206">
                <a:extLst>
                  <a:ext uri="{FF2B5EF4-FFF2-40B4-BE49-F238E27FC236}">
                    <a16:creationId xmlns:a16="http://schemas.microsoft.com/office/drawing/2014/main" id="{044D8867-620D-4691-A0DD-79E16FC985B3}"/>
                  </a:ext>
                </a:extLst>
              </p:cNvPr>
              <p:cNvSpPr/>
              <p:nvPr>
                <p:custDataLst>
                  <p:tags r:id="rId3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5238953"/>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6" r:id="rId18"/>
    <p:sldLayoutId id="2147483917" r:id="rId19"/>
    <p:sldLayoutId id="2147483918" r:id="rId20"/>
    <p:sldLayoutId id="2147483919" r:id="rId21"/>
    <p:sldLayoutId id="2147483925" r:id="rId22"/>
    <p:sldLayoutId id="2147483945" r:id="rId23"/>
    <p:sldLayoutId id="2147483946" r:id="rId24"/>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0"/>
            </p:custDataLst>
            <p:extLst>
              <p:ext uri="{D42A27DB-BD31-4B8C-83A1-F6EECF244321}">
                <p14:modId xmlns:p14="http://schemas.microsoft.com/office/powerpoint/2010/main" val="3008221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413" imgH="416" progId="TCLayout.ActiveDocument.1">
                  <p:embed/>
                </p:oleObj>
              </mc:Choice>
              <mc:Fallback>
                <p:oleObj name="think-cell Slide" r:id="rId40"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97613"/>
            <a:ext cx="11082528" cy="384721"/>
          </a:xfrm>
          <a:prstGeom prst="rect">
            <a:avLst/>
          </a:prstGeom>
        </p:spPr>
        <p:txBody>
          <a:bodyPr vert="horz" wrap="square" lIns="0" tIns="0" rIns="0" bIns="0" rtlCol="0" anchor="t" anchorCtr="0">
            <a:spAutoFit/>
          </a:bodyPr>
          <a:lstStyle/>
          <a:p>
            <a:pPr lvl="0"/>
            <a:r>
              <a:rPr lang="en-GB"/>
              <a:t>Click to edit Master title style</a:t>
            </a:r>
            <a:endParaRPr lang="en-US"/>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4"/>
            </p:custDataLst>
          </p:nvPr>
        </p:nvSpPr>
        <p:spPr>
          <a:xfrm>
            <a:off x="5987738" y="1872797"/>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1872797"/>
            <a:ext cx="2484655" cy="1631216"/>
          </a:xfrm>
          <a:prstGeom prst="rect">
            <a:avLst/>
          </a:prstGeom>
        </p:spPr>
        <p:txBody>
          <a:bodyPr vert="horz" wrap="square"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5" name="Arc 214">
                <a:extLst>
                  <a:ext uri="{FF2B5EF4-FFF2-40B4-BE49-F238E27FC236}">
                    <a16:creationId xmlns:a16="http://schemas.microsoft.com/office/drawing/2014/main" id="{F9B15371-13C6-4FC5-A65B-0EDE237980EC}"/>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3" name="Arc 212">
                <a:extLst>
                  <a:ext uri="{FF2B5EF4-FFF2-40B4-BE49-F238E27FC236}">
                    <a16:creationId xmlns:a16="http://schemas.microsoft.com/office/drawing/2014/main" id="{D743921E-6D1E-4571-B683-6DAA333BDEC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1" name="Arc 210">
                <a:extLst>
                  <a:ext uri="{FF2B5EF4-FFF2-40B4-BE49-F238E27FC236}">
                    <a16:creationId xmlns:a16="http://schemas.microsoft.com/office/drawing/2014/main" id="{03D44525-7618-42C3-A26B-9CC5DF2D2566}"/>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09" name="Arc 208">
                <a:extLst>
                  <a:ext uri="{FF2B5EF4-FFF2-40B4-BE49-F238E27FC236}">
                    <a16:creationId xmlns:a16="http://schemas.microsoft.com/office/drawing/2014/main" id="{4EE447D4-D1F3-48FC-A5DF-CC5107A778A6}"/>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07" name="Arc 206">
                <a:extLst>
                  <a:ext uri="{FF2B5EF4-FFF2-40B4-BE49-F238E27FC236}">
                    <a16:creationId xmlns:a16="http://schemas.microsoft.com/office/drawing/2014/main" id="{044D8867-620D-4691-A0DD-79E16FC985B3}"/>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8" name="Freeform 76">
            <a:extLst>
              <a:ext uri="{FF2B5EF4-FFF2-40B4-BE49-F238E27FC236}">
                <a16:creationId xmlns:a16="http://schemas.microsoft.com/office/drawing/2014/main" id="{1F5F280D-2C3D-42CA-A5E9-C0DDA34CDB9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Rectangle 149">
            <a:extLst>
              <a:ext uri="{FF2B5EF4-FFF2-40B4-BE49-F238E27FC236}">
                <a16:creationId xmlns:a16="http://schemas.microsoft.com/office/drawing/2014/main" id="{4E2BE401-416B-A64E-B14A-26C166251906}"/>
              </a:ext>
            </a:extLst>
          </p:cNvPr>
          <p:cNvSpPr/>
          <p:nvPr userDrawn="1"/>
        </p:nvSpPr>
        <p:spPr>
          <a:xfrm>
            <a:off x="10560875" y="6584816"/>
            <a:ext cx="914400" cy="273184"/>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Tree>
    <p:extLst>
      <p:ext uri="{BB962C8B-B14F-4D97-AF65-F5344CB8AC3E}">
        <p14:creationId xmlns:p14="http://schemas.microsoft.com/office/powerpoint/2010/main" val="441567705"/>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940" r:id="rId14"/>
    <p:sldLayoutId id="2147483941" r:id="rId15"/>
    <p:sldLayoutId id="2147483942" r:id="rId16"/>
    <p:sldLayoutId id="2147483943" r:id="rId17"/>
    <p:sldLayoutId id="2147483944" r:id="rId18"/>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43.bin"/><Relationship Id="rId3" Type="http://schemas.openxmlformats.org/officeDocument/2006/relationships/tags" Target="../tags/tag242.xml"/><Relationship Id="rId7" Type="http://schemas.openxmlformats.org/officeDocument/2006/relationships/notesSlide" Target="../notesSlides/notesSlide1.xml"/><Relationship Id="rId2" Type="http://schemas.openxmlformats.org/officeDocument/2006/relationships/tags" Target="../tags/tag241.xml"/><Relationship Id="rId1" Type="http://schemas.openxmlformats.org/officeDocument/2006/relationships/tags" Target="../tags/tag240.xml"/><Relationship Id="rId6" Type="http://schemas.openxmlformats.org/officeDocument/2006/relationships/slideLayout" Target="../slideLayouts/slideLayout1.xml"/><Relationship Id="rId5" Type="http://schemas.openxmlformats.org/officeDocument/2006/relationships/tags" Target="../tags/tag244.xml"/><Relationship Id="rId4" Type="http://schemas.openxmlformats.org/officeDocument/2006/relationships/tags" Target="../tags/tag243.xml"/><Relationship Id="rId9" Type="http://schemas.openxmlformats.org/officeDocument/2006/relationships/image" Target="../media/image2.emf"/></Relationships>
</file>

<file path=ppt/slides/_rels/slide10.xml.rels><?xml version="1.0" encoding="UTF-8" standalone="yes"?>
<Relationships xmlns="http://schemas.openxmlformats.org/package/2006/relationships"><Relationship Id="rId3" Type="http://schemas.openxmlformats.org/officeDocument/2006/relationships/hyperlink" Target="https://app.powerbi.com/groups/74edb552-9095-494d-bb31-abbedd32af99/reports/6f5b9871-1fe8-4132-90a6-2e12aab0d75d/ReportSectionf125562a66ae0adf96b9?noSignUpCheck=1" TargetMode="External"/><Relationship Id="rId2" Type="http://schemas.openxmlformats.org/officeDocument/2006/relationships/slideLayout" Target="../slideLayouts/slideLayout23.xml"/><Relationship Id="rId1" Type="http://schemas.openxmlformats.org/officeDocument/2006/relationships/tags" Target="../tags/tag252.xml"/><Relationship Id="rId4" Type="http://schemas.openxmlformats.org/officeDocument/2006/relationships/image" Target="../media/image14.bmp"/></Relationships>
</file>

<file path=ppt/slides/_rels/slide11.xml.rels><?xml version="1.0" encoding="UTF-8" standalone="yes"?>
<Relationships xmlns="http://schemas.openxmlformats.org/package/2006/relationships"><Relationship Id="rId3" Type="http://schemas.openxmlformats.org/officeDocument/2006/relationships/hyperlink" Target="https://app.powerbi.com/groups/74edb552-9095-494d-bb31-abbedd32af99/reports/6f5b9871-1fe8-4132-90a6-2e12aab0d75d/ReportSection990105f2058f6381d22e?noSignUpCheck=1" TargetMode="External"/><Relationship Id="rId2" Type="http://schemas.openxmlformats.org/officeDocument/2006/relationships/slideLayout" Target="../slideLayouts/slideLayout23.xml"/><Relationship Id="rId1" Type="http://schemas.openxmlformats.org/officeDocument/2006/relationships/tags" Target="../tags/tag253.xml"/><Relationship Id="rId4" Type="http://schemas.openxmlformats.org/officeDocument/2006/relationships/image" Target="../media/image15.bmp"/></Relationships>
</file>

<file path=ppt/slides/_rels/slide12.xml.rels><?xml version="1.0" encoding="UTF-8" standalone="yes"?>
<Relationships xmlns="http://schemas.openxmlformats.org/package/2006/relationships"><Relationship Id="rId3" Type="http://schemas.openxmlformats.org/officeDocument/2006/relationships/hyperlink" Target="https://app.powerbi.com/groups/74edb552-9095-494d-bb31-abbedd32af99/reports/6f5b9871-1fe8-4132-90a6-2e12aab0d75d/ReportSection5c134b8f4692621dc755?noSignUpCheck=1" TargetMode="External"/><Relationship Id="rId2" Type="http://schemas.openxmlformats.org/officeDocument/2006/relationships/slideLayout" Target="../slideLayouts/slideLayout23.xml"/><Relationship Id="rId1" Type="http://schemas.openxmlformats.org/officeDocument/2006/relationships/tags" Target="../tags/tag254.xml"/><Relationship Id="rId4" Type="http://schemas.openxmlformats.org/officeDocument/2006/relationships/image" Target="../media/image16.bmp"/></Relationships>
</file>

<file path=ppt/slides/_rels/slide13.xml.rels><?xml version="1.0" encoding="UTF-8" standalone="yes"?>
<Relationships xmlns="http://schemas.openxmlformats.org/package/2006/relationships"><Relationship Id="rId3" Type="http://schemas.openxmlformats.org/officeDocument/2006/relationships/hyperlink" Target="https://app.powerbi.com/groups/74edb552-9095-494d-bb31-abbedd32af99/reports/6f5b9871-1fe8-4132-90a6-2e12aab0d75d/ReportSection80f5df6e2c15cca7e7ce?noSignUpCheck=1" TargetMode="External"/><Relationship Id="rId2" Type="http://schemas.openxmlformats.org/officeDocument/2006/relationships/slideLayout" Target="../slideLayouts/slideLayout23.xml"/><Relationship Id="rId1" Type="http://schemas.openxmlformats.org/officeDocument/2006/relationships/tags" Target="../tags/tag255.xml"/><Relationship Id="rId4" Type="http://schemas.openxmlformats.org/officeDocument/2006/relationships/image" Target="../media/image17.bmp"/></Relationships>
</file>

<file path=ppt/slides/_rels/slide14.xml.rels><?xml version="1.0" encoding="UTF-8" standalone="yes"?>
<Relationships xmlns="http://schemas.openxmlformats.org/package/2006/relationships"><Relationship Id="rId3" Type="http://schemas.openxmlformats.org/officeDocument/2006/relationships/hyperlink" Target="https://app.powerbi.com/groups/74edb552-9095-494d-bb31-abbedd32af99/reports/6f5b9871-1fe8-4132-90a6-2e12aab0d75d/ReportSectiona75c73f9d3e1eb902a81?noSignUpCheck=1" TargetMode="External"/><Relationship Id="rId2" Type="http://schemas.openxmlformats.org/officeDocument/2006/relationships/slideLayout" Target="../slideLayouts/slideLayout23.xml"/><Relationship Id="rId1" Type="http://schemas.openxmlformats.org/officeDocument/2006/relationships/tags" Target="../tags/tag256.xml"/><Relationship Id="rId4" Type="http://schemas.openxmlformats.org/officeDocument/2006/relationships/image" Target="../media/image18.bmp"/></Relationships>
</file>

<file path=ppt/slides/_rels/slide15.xml.rels><?xml version="1.0" encoding="UTF-8" standalone="yes"?>
<Relationships xmlns="http://schemas.openxmlformats.org/package/2006/relationships"><Relationship Id="rId3" Type="http://schemas.openxmlformats.org/officeDocument/2006/relationships/hyperlink" Target="https://app.powerbi.com/groups/74edb552-9095-494d-bb31-abbedd32af99/reports/6f5b9871-1fe8-4132-90a6-2e12aab0d75d/ReportSectionc42292d34132b7c13133?noSignUpCheck=1" TargetMode="External"/><Relationship Id="rId2" Type="http://schemas.openxmlformats.org/officeDocument/2006/relationships/slideLayout" Target="../slideLayouts/slideLayout23.xml"/><Relationship Id="rId1" Type="http://schemas.openxmlformats.org/officeDocument/2006/relationships/tags" Target="../tags/tag257.xml"/><Relationship Id="rId4" Type="http://schemas.openxmlformats.org/officeDocument/2006/relationships/image" Target="../media/image19.bmp"/></Relationships>
</file>

<file path=ppt/slides/_rels/slide16.xml.rels><?xml version="1.0" encoding="UTF-8" standalone="yes"?>
<Relationships xmlns="http://schemas.openxmlformats.org/package/2006/relationships"><Relationship Id="rId3" Type="http://schemas.openxmlformats.org/officeDocument/2006/relationships/hyperlink" Target="https://app.powerbi.com/groups/74edb552-9095-494d-bb31-abbedd32af99/reports/6f5b9871-1fe8-4132-90a6-2e12aab0d75d/ReportSectioneb700ce39a39656b5f28?noSignUpCheck=1" TargetMode="External"/><Relationship Id="rId2" Type="http://schemas.openxmlformats.org/officeDocument/2006/relationships/slideLayout" Target="../slideLayouts/slideLayout23.xml"/><Relationship Id="rId1" Type="http://schemas.openxmlformats.org/officeDocument/2006/relationships/tags" Target="../tags/tag258.xml"/><Relationship Id="rId4" Type="http://schemas.openxmlformats.org/officeDocument/2006/relationships/image" Target="../media/image20.bmp"/></Relationships>
</file>

<file path=ppt/slides/_rels/slide17.xml.rels><?xml version="1.0" encoding="UTF-8" standalone="yes"?>
<Relationships xmlns="http://schemas.openxmlformats.org/package/2006/relationships"><Relationship Id="rId3" Type="http://schemas.openxmlformats.org/officeDocument/2006/relationships/hyperlink" Target="https://app.powerbi.com/groups/74edb552-9095-494d-bb31-abbedd32af99/reports/6f5b9871-1fe8-4132-90a6-2e12aab0d75d/ReportSection841798bb211258e17ced?noSignUpCheck=1" TargetMode="External"/><Relationship Id="rId2" Type="http://schemas.openxmlformats.org/officeDocument/2006/relationships/slideLayout" Target="../slideLayouts/slideLayout23.xml"/><Relationship Id="rId1" Type="http://schemas.openxmlformats.org/officeDocument/2006/relationships/tags" Target="../tags/tag259.xml"/><Relationship Id="rId4" Type="http://schemas.openxmlformats.org/officeDocument/2006/relationships/image" Target="../media/image21.bmp"/></Relationships>
</file>

<file path=ppt/slides/_rels/slide18.xml.rels><?xml version="1.0" encoding="UTF-8" standalone="yes"?>
<Relationships xmlns="http://schemas.openxmlformats.org/package/2006/relationships"><Relationship Id="rId3" Type="http://schemas.openxmlformats.org/officeDocument/2006/relationships/hyperlink" Target="https://app.powerbi.com/groups/74edb552-9095-494d-bb31-abbedd32af99/reports/6f5b9871-1fe8-4132-90a6-2e12aab0d75d/ReportSectionddc33a1044fb70d4308d?noSignUpCheck=1" TargetMode="External"/><Relationship Id="rId2" Type="http://schemas.openxmlformats.org/officeDocument/2006/relationships/slideLayout" Target="../slideLayouts/slideLayout23.xml"/><Relationship Id="rId1" Type="http://schemas.openxmlformats.org/officeDocument/2006/relationships/tags" Target="../tags/tag260.xml"/><Relationship Id="rId4" Type="http://schemas.openxmlformats.org/officeDocument/2006/relationships/image" Target="../media/image22.bmp"/></Relationships>
</file>

<file path=ppt/slides/_rels/slide19.xml.rels><?xml version="1.0" encoding="UTF-8" standalone="yes"?>
<Relationships xmlns="http://schemas.openxmlformats.org/package/2006/relationships"><Relationship Id="rId3" Type="http://schemas.openxmlformats.org/officeDocument/2006/relationships/hyperlink" Target="https://app.powerbi.com/groups/74edb552-9095-494d-bb31-abbedd32af99/reports/6f5b9871-1fe8-4132-90a6-2e12aab0d75d/ReportSectionc34b852aa583daf59bab?noSignUpCheck=1" TargetMode="External"/><Relationship Id="rId2" Type="http://schemas.openxmlformats.org/officeDocument/2006/relationships/slideLayout" Target="../slideLayouts/slideLayout23.xml"/><Relationship Id="rId1" Type="http://schemas.openxmlformats.org/officeDocument/2006/relationships/tags" Target="../tags/tag261.xml"/><Relationship Id="rId4" Type="http://schemas.openxmlformats.org/officeDocument/2006/relationships/image" Target="../media/image23.bmp"/></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4.bin"/><Relationship Id="rId7" Type="http://schemas.openxmlformats.org/officeDocument/2006/relationships/hyperlink" Target="mailto:rpanlilio@unicef.org" TargetMode="External"/><Relationship Id="rId2" Type="http://schemas.openxmlformats.org/officeDocument/2006/relationships/slideLayout" Target="../slideLayouts/slideLayout2.xml"/><Relationship Id="rId1" Type="http://schemas.openxmlformats.org/officeDocument/2006/relationships/tags" Target="../tags/tag245.xml"/><Relationship Id="rId6" Type="http://schemas.openxmlformats.org/officeDocument/2006/relationships/hyperlink" Target="mailto:brooksd@who.int" TargetMode="External"/><Relationship Id="rId5" Type="http://schemas.openxmlformats.org/officeDocument/2006/relationships/hyperlink" Target="https://worldhealthorg.sharepoint.com/:f:/r/sites/COVID19VaccineDeliveryFacility-DataAnalyticsandMonitoring/Shared%20Documents/Data,%20Analytics,%20and%20Monitoring/04%20External/Data%20%26%20Monitoring%20Coordination%20Group?csf=1&amp;web=1&amp;e=7ZpB7P" TargetMode="External"/><Relationship Id="rId4" Type="http://schemas.openxmlformats.org/officeDocument/2006/relationships/image" Target="../media/image7.emf"/></Relationships>
</file>

<file path=ppt/slides/_rels/slide20.xml.rels><?xml version="1.0" encoding="UTF-8" standalone="yes"?>
<Relationships xmlns="http://schemas.openxmlformats.org/package/2006/relationships"><Relationship Id="rId3" Type="http://schemas.openxmlformats.org/officeDocument/2006/relationships/hyperlink" Target="https://app.powerbi.com/groups/74edb552-9095-494d-bb31-abbedd32af99/reports/6f5b9871-1fe8-4132-90a6-2e12aab0d75d/ReportSection5d20f36d749e98f9ff21?noSignUpCheck=1" TargetMode="External"/><Relationship Id="rId2" Type="http://schemas.openxmlformats.org/officeDocument/2006/relationships/slideLayout" Target="../slideLayouts/slideLayout23.xml"/><Relationship Id="rId1" Type="http://schemas.openxmlformats.org/officeDocument/2006/relationships/tags" Target="../tags/tag262.xml"/><Relationship Id="rId4" Type="http://schemas.openxmlformats.org/officeDocument/2006/relationships/image" Target="../media/image24.bmp"/></Relationships>
</file>

<file path=ppt/slides/_rels/slide21.xml.rels><?xml version="1.0" encoding="UTF-8" standalone="yes"?>
<Relationships xmlns="http://schemas.openxmlformats.org/package/2006/relationships"><Relationship Id="rId3" Type="http://schemas.openxmlformats.org/officeDocument/2006/relationships/hyperlink" Target="https://app.powerbi.com/groups/74edb552-9095-494d-bb31-abbedd32af99/reports/6f5b9871-1fe8-4132-90a6-2e12aab0d75d/ReportSection0381468b283940cb89c2?noSignUpCheck=1" TargetMode="External"/><Relationship Id="rId2" Type="http://schemas.openxmlformats.org/officeDocument/2006/relationships/slideLayout" Target="../slideLayouts/slideLayout23.xml"/><Relationship Id="rId1" Type="http://schemas.openxmlformats.org/officeDocument/2006/relationships/tags" Target="../tags/tag263.xml"/><Relationship Id="rId4" Type="http://schemas.openxmlformats.org/officeDocument/2006/relationships/image" Target="../media/image25.bmp"/></Relationships>
</file>

<file path=ppt/slides/_rels/slide22.xml.rels><?xml version="1.0" encoding="UTF-8" standalone="yes"?>
<Relationships xmlns="http://schemas.openxmlformats.org/package/2006/relationships"><Relationship Id="rId3" Type="http://schemas.openxmlformats.org/officeDocument/2006/relationships/hyperlink" Target="https://app.powerbi.com/groups/74edb552-9095-494d-bb31-abbedd32af99/reports/6f5b9871-1fe8-4132-90a6-2e12aab0d75d/ReportSection5f89609209b4516504aa?noSignUpCheck=1" TargetMode="External"/><Relationship Id="rId2" Type="http://schemas.openxmlformats.org/officeDocument/2006/relationships/slideLayout" Target="../slideLayouts/slideLayout23.xml"/><Relationship Id="rId1" Type="http://schemas.openxmlformats.org/officeDocument/2006/relationships/tags" Target="../tags/tag264.xml"/><Relationship Id="rId4" Type="http://schemas.openxmlformats.org/officeDocument/2006/relationships/image" Target="../media/image26.bmp"/></Relationships>
</file>

<file path=ppt/slides/_rels/slide23.xml.rels><?xml version="1.0" encoding="UTF-8" standalone="yes"?>
<Relationships xmlns="http://schemas.openxmlformats.org/package/2006/relationships"><Relationship Id="rId3" Type="http://schemas.openxmlformats.org/officeDocument/2006/relationships/hyperlink" Target="https://app.powerbi.com/groups/74edb552-9095-494d-bb31-abbedd32af99/reports/6f5b9871-1fe8-4132-90a6-2e12aab0d75d/ReportSection067d8dfbf4ac1f603d21?noSignUpCheck=1" TargetMode="External"/><Relationship Id="rId2" Type="http://schemas.openxmlformats.org/officeDocument/2006/relationships/slideLayout" Target="../slideLayouts/slideLayout23.xml"/><Relationship Id="rId1" Type="http://schemas.openxmlformats.org/officeDocument/2006/relationships/tags" Target="../tags/tag265.xml"/><Relationship Id="rId4" Type="http://schemas.openxmlformats.org/officeDocument/2006/relationships/image" Target="../media/image27.bmp"/></Relationships>
</file>

<file path=ppt/slides/_rels/slide24.xml.rels><?xml version="1.0" encoding="UTF-8" standalone="yes"?>
<Relationships xmlns="http://schemas.openxmlformats.org/package/2006/relationships"><Relationship Id="rId3" Type="http://schemas.openxmlformats.org/officeDocument/2006/relationships/hyperlink" Target="https://app.powerbi.com/groups/74edb552-9095-494d-bb31-abbedd32af99/reports/6f5b9871-1fe8-4132-90a6-2e12aab0d75d/ReportSectionce8be4366c44945bc900?noSignUpCheck=1" TargetMode="External"/><Relationship Id="rId2" Type="http://schemas.openxmlformats.org/officeDocument/2006/relationships/slideLayout" Target="../slideLayouts/slideLayout23.xml"/><Relationship Id="rId1" Type="http://schemas.openxmlformats.org/officeDocument/2006/relationships/tags" Target="../tags/tag266.xml"/><Relationship Id="rId4" Type="http://schemas.openxmlformats.org/officeDocument/2006/relationships/image" Target="../media/image28.bmp"/></Relationships>
</file>

<file path=ppt/slides/_rels/slide25.xml.rels><?xml version="1.0" encoding="UTF-8" standalone="yes"?>
<Relationships xmlns="http://schemas.openxmlformats.org/package/2006/relationships"><Relationship Id="rId3" Type="http://schemas.openxmlformats.org/officeDocument/2006/relationships/hyperlink" Target="https://app.powerbi.com/groups/74edb552-9095-494d-bb31-abbedd32af99/reports/6f5b9871-1fe8-4132-90a6-2e12aab0d75d/ReportSection9ec00af126320e46a5b9?noSignUpCheck=1" TargetMode="External"/><Relationship Id="rId2" Type="http://schemas.openxmlformats.org/officeDocument/2006/relationships/slideLayout" Target="../slideLayouts/slideLayout23.xml"/><Relationship Id="rId1" Type="http://schemas.openxmlformats.org/officeDocument/2006/relationships/tags" Target="../tags/tag267.xml"/><Relationship Id="rId4" Type="http://schemas.openxmlformats.org/officeDocument/2006/relationships/image" Target="../media/image29.bmp"/></Relationships>
</file>

<file path=ppt/slides/_rels/slide26.xml.rels><?xml version="1.0" encoding="UTF-8" standalone="yes"?>
<Relationships xmlns="http://schemas.openxmlformats.org/package/2006/relationships"><Relationship Id="rId3" Type="http://schemas.openxmlformats.org/officeDocument/2006/relationships/hyperlink" Target="https://app.powerbi.com/groups/74edb552-9095-494d-bb31-abbedd32af99/reports/6f5b9871-1fe8-4132-90a6-2e12aab0d75d/ReportSection461dd1f279cbf4fb0572?noSignUpCheck=1" TargetMode="External"/><Relationship Id="rId2" Type="http://schemas.openxmlformats.org/officeDocument/2006/relationships/slideLayout" Target="../slideLayouts/slideLayout23.xml"/><Relationship Id="rId1" Type="http://schemas.openxmlformats.org/officeDocument/2006/relationships/tags" Target="../tags/tag268.xml"/><Relationship Id="rId4" Type="http://schemas.openxmlformats.org/officeDocument/2006/relationships/image" Target="../media/image30.bmp"/></Relationships>
</file>

<file path=ppt/slides/_rels/slide27.xml.rels><?xml version="1.0" encoding="UTF-8" standalone="yes"?>
<Relationships xmlns="http://schemas.openxmlformats.org/package/2006/relationships"><Relationship Id="rId3" Type="http://schemas.openxmlformats.org/officeDocument/2006/relationships/hyperlink" Target="https://app.powerbi.com/groups/74edb552-9095-494d-bb31-abbedd32af99/reports/6f5b9871-1fe8-4132-90a6-2e12aab0d75d/ReportSection983c3f9c2fe98ef83542?noSignUpCheck=1" TargetMode="External"/><Relationship Id="rId2" Type="http://schemas.openxmlformats.org/officeDocument/2006/relationships/slideLayout" Target="../slideLayouts/slideLayout23.xml"/><Relationship Id="rId1" Type="http://schemas.openxmlformats.org/officeDocument/2006/relationships/tags" Target="../tags/tag269.xml"/><Relationship Id="rId4" Type="http://schemas.openxmlformats.org/officeDocument/2006/relationships/image" Target="../media/image31.bmp"/></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5.xml"/><Relationship Id="rId1" Type="http://schemas.openxmlformats.org/officeDocument/2006/relationships/tags" Target="../tags/tag270.xml"/><Relationship Id="rId4" Type="http://schemas.openxmlformats.org/officeDocument/2006/relationships/image" Target="../media/image7.emf"/></Relationships>
</file>

<file path=ppt/slides/_rels/slide29.xml.rels><?xml version="1.0" encoding="UTF-8" standalone="yes"?>
<Relationships xmlns="http://schemas.openxmlformats.org/package/2006/relationships"><Relationship Id="rId3" Type="http://schemas.openxmlformats.org/officeDocument/2006/relationships/hyperlink" Target="https://app.powerbi.com/groups/74edb552-9095-494d-bb31-abbedd32af99/reports/6f5b9871-1fe8-4132-90a6-2e12aab0d75d/ReportSectione5e7fd10fe390f837581?noSignUpCheck=1" TargetMode="External"/><Relationship Id="rId2" Type="http://schemas.openxmlformats.org/officeDocument/2006/relationships/slideLayout" Target="../slideLayouts/slideLayout23.xml"/><Relationship Id="rId1" Type="http://schemas.openxmlformats.org/officeDocument/2006/relationships/tags" Target="../tags/tag271.xml"/><Relationship Id="rId4" Type="http://schemas.openxmlformats.org/officeDocument/2006/relationships/image" Target="../media/image32.bmp"/></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5.xml"/><Relationship Id="rId1" Type="http://schemas.openxmlformats.org/officeDocument/2006/relationships/tags" Target="../tags/tag246.xml"/><Relationship Id="rId4" Type="http://schemas.openxmlformats.org/officeDocument/2006/relationships/image" Target="../media/image7.emf"/></Relationships>
</file>

<file path=ppt/slides/_rels/slide30.xml.rels><?xml version="1.0" encoding="UTF-8" standalone="yes"?>
<Relationships xmlns="http://schemas.openxmlformats.org/package/2006/relationships"><Relationship Id="rId3" Type="http://schemas.openxmlformats.org/officeDocument/2006/relationships/hyperlink" Target="https://app.powerbi.com/groups/74edb552-9095-494d-bb31-abbedd32af99/reports/6f5b9871-1fe8-4132-90a6-2e12aab0d75d/ReportSection995167e7e96b81056c11?noSignUpCheck=1" TargetMode="External"/><Relationship Id="rId2" Type="http://schemas.openxmlformats.org/officeDocument/2006/relationships/slideLayout" Target="../slideLayouts/slideLayout23.xml"/><Relationship Id="rId1" Type="http://schemas.openxmlformats.org/officeDocument/2006/relationships/tags" Target="../tags/tag272.xml"/><Relationship Id="rId4" Type="http://schemas.openxmlformats.org/officeDocument/2006/relationships/image" Target="../media/image33.bmp"/></Relationships>
</file>

<file path=ppt/slides/_rels/slide31.xml.rels><?xml version="1.0" encoding="UTF-8" standalone="yes"?>
<Relationships xmlns="http://schemas.openxmlformats.org/package/2006/relationships"><Relationship Id="rId3" Type="http://schemas.openxmlformats.org/officeDocument/2006/relationships/hyperlink" Target="https://app.powerbi.com/groups/74edb552-9095-494d-bb31-abbedd32af99/reports/6f5b9871-1fe8-4132-90a6-2e12aab0d75d/ReportSection383342b5a9029c74bad0?noSignUpCheck=1" TargetMode="External"/><Relationship Id="rId2" Type="http://schemas.openxmlformats.org/officeDocument/2006/relationships/slideLayout" Target="../slideLayouts/slideLayout23.xml"/><Relationship Id="rId1" Type="http://schemas.openxmlformats.org/officeDocument/2006/relationships/tags" Target="../tags/tag273.xml"/><Relationship Id="rId4" Type="http://schemas.openxmlformats.org/officeDocument/2006/relationships/image" Target="../media/image34.bmp"/></Relationships>
</file>

<file path=ppt/slides/_rels/slide32.xml.rels><?xml version="1.0" encoding="UTF-8" standalone="yes"?>
<Relationships xmlns="http://schemas.openxmlformats.org/package/2006/relationships"><Relationship Id="rId3" Type="http://schemas.openxmlformats.org/officeDocument/2006/relationships/hyperlink" Target="https://app.powerbi.com/groups/74edb552-9095-494d-bb31-abbedd32af99/reports/6f5b9871-1fe8-4132-90a6-2e12aab0d75d/ReportSection481680a8506bd397e4cd?noSignUpCheck=1" TargetMode="External"/><Relationship Id="rId2" Type="http://schemas.openxmlformats.org/officeDocument/2006/relationships/slideLayout" Target="../slideLayouts/slideLayout23.xml"/><Relationship Id="rId1" Type="http://schemas.openxmlformats.org/officeDocument/2006/relationships/tags" Target="../tags/tag274.xml"/><Relationship Id="rId4" Type="http://schemas.openxmlformats.org/officeDocument/2006/relationships/image" Target="../media/image35.bmp"/></Relationships>
</file>

<file path=ppt/slides/_rels/slide33.xml.rels><?xml version="1.0" encoding="UTF-8" standalone="yes"?>
<Relationships xmlns="http://schemas.openxmlformats.org/package/2006/relationships"><Relationship Id="rId3" Type="http://schemas.openxmlformats.org/officeDocument/2006/relationships/hyperlink" Target="https://app.powerbi.com/groups/74edb552-9095-494d-bb31-abbedd32af99/reports/6f5b9871-1fe8-4132-90a6-2e12aab0d75d/ReportSection11ca06d720dc4697110d?noSignUpCheck=1" TargetMode="External"/><Relationship Id="rId2" Type="http://schemas.openxmlformats.org/officeDocument/2006/relationships/slideLayout" Target="../slideLayouts/slideLayout23.xml"/><Relationship Id="rId1" Type="http://schemas.openxmlformats.org/officeDocument/2006/relationships/tags" Target="../tags/tag275.xml"/><Relationship Id="rId4" Type="http://schemas.openxmlformats.org/officeDocument/2006/relationships/image" Target="../media/image36.bmp"/></Relationships>
</file>

<file path=ppt/slides/_rels/slide34.xml.rels><?xml version="1.0" encoding="UTF-8" standalone="yes"?>
<Relationships xmlns="http://schemas.openxmlformats.org/package/2006/relationships"><Relationship Id="rId3" Type="http://schemas.openxmlformats.org/officeDocument/2006/relationships/hyperlink" Target="https://app.powerbi.com/groups/74edb552-9095-494d-bb31-abbedd32af99/reports/6f5b9871-1fe8-4132-90a6-2e12aab0d75d/ReportSection742e50d466ab00c111e0?noSignUpCheck=1" TargetMode="External"/><Relationship Id="rId2" Type="http://schemas.openxmlformats.org/officeDocument/2006/relationships/slideLayout" Target="../slideLayouts/slideLayout23.xml"/><Relationship Id="rId1" Type="http://schemas.openxmlformats.org/officeDocument/2006/relationships/tags" Target="../tags/tag276.xml"/><Relationship Id="rId4" Type="http://schemas.openxmlformats.org/officeDocument/2006/relationships/image" Target="../media/image37.bmp"/></Relationships>
</file>

<file path=ppt/slides/_rels/slide35.xml.rels><?xml version="1.0" encoding="UTF-8" standalone="yes"?>
<Relationships xmlns="http://schemas.openxmlformats.org/package/2006/relationships"><Relationship Id="rId3" Type="http://schemas.openxmlformats.org/officeDocument/2006/relationships/hyperlink" Target="https://app.powerbi.com/groups/74edb552-9095-494d-bb31-abbedd32af99/reports/6f5b9871-1fe8-4132-90a6-2e12aab0d75d/ReportSection3cccbe5a1c3736b880e3?noSignUpCheck=1" TargetMode="External"/><Relationship Id="rId2" Type="http://schemas.openxmlformats.org/officeDocument/2006/relationships/slideLayout" Target="../slideLayouts/slideLayout23.xml"/><Relationship Id="rId1" Type="http://schemas.openxmlformats.org/officeDocument/2006/relationships/tags" Target="../tags/tag277.xml"/><Relationship Id="rId4" Type="http://schemas.openxmlformats.org/officeDocument/2006/relationships/image" Target="../media/image38.bmp"/></Relationships>
</file>

<file path=ppt/slides/_rels/slide36.xml.rels><?xml version="1.0" encoding="UTF-8" standalone="yes"?>
<Relationships xmlns="http://schemas.openxmlformats.org/package/2006/relationships"><Relationship Id="rId3" Type="http://schemas.openxmlformats.org/officeDocument/2006/relationships/hyperlink" Target="https://app.powerbi.com/groups/74edb552-9095-494d-bb31-abbedd32af99/reports/6f5b9871-1fe8-4132-90a6-2e12aab0d75d/ReportSectiond5904010b5eb20710897?noSignUpCheck=1" TargetMode="External"/><Relationship Id="rId2" Type="http://schemas.openxmlformats.org/officeDocument/2006/relationships/slideLayout" Target="../slideLayouts/slideLayout23.xml"/><Relationship Id="rId1" Type="http://schemas.openxmlformats.org/officeDocument/2006/relationships/tags" Target="../tags/tag278.xml"/><Relationship Id="rId4" Type="http://schemas.openxmlformats.org/officeDocument/2006/relationships/image" Target="../media/image39.bmp"/></Relationships>
</file>

<file path=ppt/slides/_rels/slide37.xml.rels><?xml version="1.0" encoding="UTF-8" standalone="yes"?>
<Relationships xmlns="http://schemas.openxmlformats.org/package/2006/relationships"><Relationship Id="rId3" Type="http://schemas.openxmlformats.org/officeDocument/2006/relationships/hyperlink" Target="https://app.powerbi.com/groups/74edb552-9095-494d-bb31-abbedd32af99/reports/6f5b9871-1fe8-4132-90a6-2e12aab0d75d/ReportSection29e0cff6ca7d9a454509?noSignUpCheck=1" TargetMode="External"/><Relationship Id="rId2" Type="http://schemas.openxmlformats.org/officeDocument/2006/relationships/slideLayout" Target="../slideLayouts/slideLayout23.xml"/><Relationship Id="rId1" Type="http://schemas.openxmlformats.org/officeDocument/2006/relationships/tags" Target="../tags/tag279.xml"/><Relationship Id="rId4" Type="http://schemas.openxmlformats.org/officeDocument/2006/relationships/image" Target="../media/image40.bmp"/></Relationships>
</file>

<file path=ppt/slides/_rels/slide38.xml.rels><?xml version="1.0" encoding="UTF-8" standalone="yes"?>
<Relationships xmlns="http://schemas.openxmlformats.org/package/2006/relationships"><Relationship Id="rId3" Type="http://schemas.openxmlformats.org/officeDocument/2006/relationships/hyperlink" Target="https://app.powerbi.com/groups/74edb552-9095-494d-bb31-abbedd32af99/reports/6f5b9871-1fe8-4132-90a6-2e12aab0d75d/ReportSection4a9c7d4aa0e6b124cec8?noSignUpCheck=1" TargetMode="External"/><Relationship Id="rId2" Type="http://schemas.openxmlformats.org/officeDocument/2006/relationships/slideLayout" Target="../slideLayouts/slideLayout23.xml"/><Relationship Id="rId1" Type="http://schemas.openxmlformats.org/officeDocument/2006/relationships/tags" Target="../tags/tag280.xml"/><Relationship Id="rId4" Type="http://schemas.openxmlformats.org/officeDocument/2006/relationships/image" Target="../media/image41.bmp"/></Relationships>
</file>

<file path=ppt/slides/_rels/slide39.xml.rels><?xml version="1.0" encoding="UTF-8" standalone="yes"?>
<Relationships xmlns="http://schemas.openxmlformats.org/package/2006/relationships"><Relationship Id="rId3" Type="http://schemas.openxmlformats.org/officeDocument/2006/relationships/hyperlink" Target="https://app.powerbi.com/groups/74edb552-9095-494d-bb31-abbedd32af99/reports/6f5b9871-1fe8-4132-90a6-2e12aab0d75d/ReportSection673a90d422e5edac4605?noSignUpCheck=1" TargetMode="External"/><Relationship Id="rId2" Type="http://schemas.openxmlformats.org/officeDocument/2006/relationships/slideLayout" Target="../slideLayouts/slideLayout23.xml"/><Relationship Id="rId1" Type="http://schemas.openxmlformats.org/officeDocument/2006/relationships/tags" Target="../tags/tag281.xml"/><Relationship Id="rId4" Type="http://schemas.openxmlformats.org/officeDocument/2006/relationships/image" Target="../media/image42.bmp"/></Relationships>
</file>

<file path=ppt/slides/_rels/slide4.xml.rels><?xml version="1.0" encoding="UTF-8" standalone="yes"?>
<Relationships xmlns="http://schemas.openxmlformats.org/package/2006/relationships"><Relationship Id="rId3" Type="http://schemas.openxmlformats.org/officeDocument/2006/relationships/hyperlink" Target="https://app.powerbi.com/groups/74edb552-9095-494d-bb31-abbedd32af99/reports/6f5b9871-1fe8-4132-90a6-2e12aab0d75d/ReportSection236d0e62496883c667bf?noSignUpCheck=1" TargetMode="External"/><Relationship Id="rId2" Type="http://schemas.openxmlformats.org/officeDocument/2006/relationships/slideLayout" Target="../slideLayouts/slideLayout23.xml"/><Relationship Id="rId1" Type="http://schemas.openxmlformats.org/officeDocument/2006/relationships/tags" Target="../tags/tag247.xml"/><Relationship Id="rId4" Type="http://schemas.openxmlformats.org/officeDocument/2006/relationships/image" Target="../media/image8.bmp"/></Relationships>
</file>

<file path=ppt/slides/_rels/slide40.xml.rels><?xml version="1.0" encoding="UTF-8" standalone="yes"?>
<Relationships xmlns="http://schemas.openxmlformats.org/package/2006/relationships"><Relationship Id="rId3" Type="http://schemas.openxmlformats.org/officeDocument/2006/relationships/hyperlink" Target="https://app.powerbi.com/groups/74edb552-9095-494d-bb31-abbedd32af99/reports/6f5b9871-1fe8-4132-90a6-2e12aab0d75d/ReportSection4301ca1a08890d712a8a?noSignUpCheck=1" TargetMode="External"/><Relationship Id="rId2" Type="http://schemas.openxmlformats.org/officeDocument/2006/relationships/slideLayout" Target="../slideLayouts/slideLayout23.xml"/><Relationship Id="rId1" Type="http://schemas.openxmlformats.org/officeDocument/2006/relationships/tags" Target="../tags/tag282.xml"/><Relationship Id="rId4" Type="http://schemas.openxmlformats.org/officeDocument/2006/relationships/image" Target="../media/image43.bmp"/></Relationships>
</file>

<file path=ppt/slides/_rels/slide41.xml.rels><?xml version="1.0" encoding="UTF-8" standalone="yes"?>
<Relationships xmlns="http://schemas.openxmlformats.org/package/2006/relationships"><Relationship Id="rId3" Type="http://schemas.openxmlformats.org/officeDocument/2006/relationships/hyperlink" Target="https://app.powerbi.com/groups/74edb552-9095-494d-bb31-abbedd32af99/reports/6f5b9871-1fe8-4132-90a6-2e12aab0d75d/ReportSection458709de15a4ec038506?noSignUpCheck=1" TargetMode="External"/><Relationship Id="rId2" Type="http://schemas.openxmlformats.org/officeDocument/2006/relationships/slideLayout" Target="../slideLayouts/slideLayout23.xml"/><Relationship Id="rId1" Type="http://schemas.openxmlformats.org/officeDocument/2006/relationships/tags" Target="../tags/tag283.xml"/><Relationship Id="rId4" Type="http://schemas.openxmlformats.org/officeDocument/2006/relationships/image" Target="../media/image44.bmp"/></Relationships>
</file>

<file path=ppt/slides/_rels/slide42.xml.rels><?xml version="1.0" encoding="UTF-8" standalone="yes"?>
<Relationships xmlns="http://schemas.openxmlformats.org/package/2006/relationships"><Relationship Id="rId3" Type="http://schemas.openxmlformats.org/officeDocument/2006/relationships/hyperlink" Target="https://app.powerbi.com/groups/74edb552-9095-494d-bb31-abbedd32af99/reports/6f5b9871-1fe8-4132-90a6-2e12aab0d75d/ReportSection48794cdf64e04a65e309?noSignUpCheck=1" TargetMode="External"/><Relationship Id="rId2" Type="http://schemas.openxmlformats.org/officeDocument/2006/relationships/slideLayout" Target="../slideLayouts/slideLayout23.xml"/><Relationship Id="rId1" Type="http://schemas.openxmlformats.org/officeDocument/2006/relationships/tags" Target="../tags/tag284.xml"/><Relationship Id="rId4" Type="http://schemas.openxmlformats.org/officeDocument/2006/relationships/image" Target="../media/image45.bmp"/></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2.xml"/><Relationship Id="rId1" Type="http://schemas.openxmlformats.org/officeDocument/2006/relationships/tags" Target="../tags/tag285.xml"/><Relationship Id="rId4" Type="http://schemas.openxmlformats.org/officeDocument/2006/relationships/image" Target="../media/image7.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2.xml"/><Relationship Id="rId1" Type="http://schemas.openxmlformats.org/officeDocument/2006/relationships/tags" Target="../tags/tag286.xml"/><Relationship Id="rId4" Type="http://schemas.openxmlformats.org/officeDocument/2006/relationships/image" Target="../media/image7.emf"/></Relationships>
</file>

<file path=ppt/slides/_rels/slide5.xml.rels><?xml version="1.0" encoding="UTF-8" standalone="yes"?>
<Relationships xmlns="http://schemas.openxmlformats.org/package/2006/relationships"><Relationship Id="rId3" Type="http://schemas.openxmlformats.org/officeDocument/2006/relationships/hyperlink" Target="https://app.powerbi.com/groups/74edb552-9095-494d-bb31-abbedd32af99/reports/6f5b9871-1fe8-4132-90a6-2e12aab0d75d/ReportSection7571688c0fd67f6a82c7?noSignUpCheck=1" TargetMode="External"/><Relationship Id="rId2" Type="http://schemas.openxmlformats.org/officeDocument/2006/relationships/slideLayout" Target="../slideLayouts/slideLayout23.xml"/><Relationship Id="rId1" Type="http://schemas.openxmlformats.org/officeDocument/2006/relationships/tags" Target="../tags/tag248.xml"/><Relationship Id="rId4" Type="http://schemas.openxmlformats.org/officeDocument/2006/relationships/image" Target="../media/image9.bmp"/></Relationships>
</file>

<file path=ppt/slides/_rels/slide6.xml.rels><?xml version="1.0" encoding="UTF-8" standalone="yes"?>
<Relationships xmlns="http://schemas.openxmlformats.org/package/2006/relationships"><Relationship Id="rId3" Type="http://schemas.openxmlformats.org/officeDocument/2006/relationships/hyperlink" Target="https://app.powerbi.com/groups/74edb552-9095-494d-bb31-abbedd32af99/reports/6f5b9871-1fe8-4132-90a6-2e12aab0d75d/ReportSection0948e412ba27f1082ce0?noSignUpCheck=1" TargetMode="External"/><Relationship Id="rId2" Type="http://schemas.openxmlformats.org/officeDocument/2006/relationships/slideLayout" Target="../slideLayouts/slideLayout23.xml"/><Relationship Id="rId1" Type="http://schemas.openxmlformats.org/officeDocument/2006/relationships/tags" Target="../tags/tag249.xml"/><Relationship Id="rId4" Type="http://schemas.openxmlformats.org/officeDocument/2006/relationships/image" Target="../media/image10.bmp"/></Relationships>
</file>

<file path=ppt/slides/_rels/slide7.xml.rels><?xml version="1.0" encoding="UTF-8" standalone="yes"?>
<Relationships xmlns="http://schemas.openxmlformats.org/package/2006/relationships"><Relationship Id="rId3" Type="http://schemas.openxmlformats.org/officeDocument/2006/relationships/hyperlink" Target="https://app.powerbi.com/groups/74edb552-9095-494d-bb31-abbedd32af99/reports/6f5b9871-1fe8-4132-90a6-2e12aab0d75d/ReportSection6ca464d1b6bc5966648f?noSignUpCheck=1" TargetMode="External"/><Relationship Id="rId2" Type="http://schemas.openxmlformats.org/officeDocument/2006/relationships/slideLayout" Target="../slideLayouts/slideLayout23.xml"/><Relationship Id="rId1" Type="http://schemas.openxmlformats.org/officeDocument/2006/relationships/tags" Target="../tags/tag250.xml"/><Relationship Id="rId4" Type="http://schemas.openxmlformats.org/officeDocument/2006/relationships/image" Target="../media/image11.bmp"/></Relationships>
</file>

<file path=ppt/slides/_rels/slide8.xml.rels><?xml version="1.0" encoding="UTF-8" standalone="yes"?>
<Relationships xmlns="http://schemas.openxmlformats.org/package/2006/relationships"><Relationship Id="rId3" Type="http://schemas.openxmlformats.org/officeDocument/2006/relationships/hyperlink" Target="https://app.powerbi.com/groups/74edb552-9095-494d-bb31-abbedd32af99/reports/6f5b9871-1fe8-4132-90a6-2e12aab0d75d/ReportSection7e3878268f291755d4d1?noSignUpCheck=1" TargetMode="External"/><Relationship Id="rId2" Type="http://schemas.openxmlformats.org/officeDocument/2006/relationships/slideLayout" Target="../slideLayouts/slideLayout23.xml"/><Relationship Id="rId1" Type="http://schemas.openxmlformats.org/officeDocument/2006/relationships/tags" Target="../tags/tag251.xml"/><Relationship Id="rId4" Type="http://schemas.openxmlformats.org/officeDocument/2006/relationships/image" Target="../media/image12.bmp"/></Relationships>
</file>

<file path=ppt/slides/_rels/slide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B0E17E90-3C4E-4F37-9FA4-FC779C250872}"/>
              </a:ext>
            </a:extLst>
          </p:cNvPr>
          <p:cNvGraphicFramePr>
            <a:graphicFrameLocks noChangeAspect="1"/>
          </p:cNvGraphicFramePr>
          <p:nvPr>
            <p:custDataLst>
              <p:tags r:id="rId2"/>
            </p:custDataLst>
            <p:extLst>
              <p:ext uri="{D42A27DB-BD31-4B8C-83A1-F6EECF244321}">
                <p14:modId xmlns:p14="http://schemas.microsoft.com/office/powerpoint/2010/main" val="1357302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6" name="Object 6" hidden="1">
                        <a:extLst>
                          <a:ext uri="{FF2B5EF4-FFF2-40B4-BE49-F238E27FC236}">
                            <a16:creationId xmlns:a16="http://schemas.microsoft.com/office/drawing/2014/main" id="{B0E17E90-3C4E-4F37-9FA4-FC779C250872}"/>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EB9340E2-D95A-4545-81E1-3AD07AB3A01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44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 name="Subtitle">
            <a:extLst>
              <a:ext uri="{FF2B5EF4-FFF2-40B4-BE49-F238E27FC236}">
                <a16:creationId xmlns:a16="http://schemas.microsoft.com/office/drawing/2014/main" id="{9D165D28-4E2C-4E35-98E6-6B5023BBA057}"/>
              </a:ext>
            </a:extLst>
          </p:cNvPr>
          <p:cNvSpPr>
            <a:spLocks noGrp="1"/>
          </p:cNvSpPr>
          <p:nvPr>
            <p:ph type="subTitle" idx="1"/>
            <p:custDataLst>
              <p:tags r:id="rId4"/>
            </p:custDataLst>
          </p:nvPr>
        </p:nvSpPr>
        <p:spPr>
          <a:xfrm>
            <a:off x="1232602" y="5723246"/>
            <a:ext cx="9726795" cy="307777"/>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i="1" dirty="0">
                <a:cs typeface="Arial"/>
              </a:rPr>
              <a:t>10 November 2022</a:t>
            </a:r>
          </a:p>
        </p:txBody>
      </p:sp>
      <p:sp>
        <p:nvSpPr>
          <p:cNvPr id="4" name="Title">
            <a:extLst>
              <a:ext uri="{FF2B5EF4-FFF2-40B4-BE49-F238E27FC236}">
                <a16:creationId xmlns:a16="http://schemas.microsoft.com/office/drawing/2014/main" id="{806FD97B-691F-4513-92F7-37A1FAC29B8E}"/>
              </a:ext>
            </a:extLst>
          </p:cNvPr>
          <p:cNvSpPr>
            <a:spLocks noGrp="1"/>
          </p:cNvSpPr>
          <p:nvPr>
            <p:ph type="title"/>
            <p:custDataLst>
              <p:tags r:id="rId5"/>
            </p:custDataLst>
          </p:nvPr>
        </p:nvSpPr>
        <p:spPr>
          <a:xfrm>
            <a:off x="1232602" y="1726163"/>
            <a:ext cx="9726795" cy="2400657"/>
          </a:xfrm>
          <a:noFill/>
          <a:ln/>
          <a:extLst>
            <a:ext uri="{909E8E84-426E-40DD-AFC4-6F175D3DCCD1}">
              <a14:hiddenFill xmlns:a14="http://schemas.microsoft.com/office/drawing/2010/main">
                <a:solidFill>
                  <a:srgbClr val="FFFFFF"/>
                </a:solidFill>
              </a14:hiddenFill>
            </a:ext>
          </a:extLst>
        </p:spPr>
        <p:txBody>
          <a:bodyPr vert="horz" wrap="square" anchor="ctr" anchorCtr="0">
            <a:spAutoFit/>
          </a:bodyPr>
          <a:lstStyle/>
          <a:p>
            <a:r>
              <a:rPr lang="en-US">
                <a:cs typeface="Arial"/>
              </a:rPr>
              <a:t>COVID-19 Vaccine Implementation Analysis &amp; Insights</a:t>
            </a:r>
            <a:br>
              <a:rPr lang="en-US" u="sng">
                <a:cs typeface="Arial"/>
              </a:rPr>
            </a:br>
            <a:br>
              <a:rPr lang="en-US" u="sng"/>
            </a:br>
            <a:r>
              <a:rPr lang="en-US" sz="2400">
                <a:solidFill>
                  <a:srgbClr val="A7A7A7"/>
                </a:solidFill>
              </a:rPr>
              <a:t>COVID-19 Vaccine Delivery Partnership</a:t>
            </a:r>
            <a:endParaRPr lang="en-US">
              <a:cs typeface="Arial"/>
            </a:endParaRPr>
          </a:p>
        </p:txBody>
      </p:sp>
    </p:spTree>
    <p:custDataLst>
      <p:tags r:id="rId1"/>
    </p:custDataLst>
    <p:extLst>
      <p:ext uri="{BB962C8B-B14F-4D97-AF65-F5344CB8AC3E}">
        <p14:creationId xmlns:p14="http://schemas.microsoft.com/office/powerpoint/2010/main" val="12581446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title="CoVDP_IAI report_amc">
            <a:hlinkClick r:id="rId3" tooltip="Open 'CoVDP_IAI report_amc' in PowerBI"/>
            <a:extLst>
              <a:ext uri="{FF2B5EF4-FFF2-40B4-BE49-F238E27FC236}">
                <a16:creationId xmlns:a16="http://schemas.microsoft.com/office/drawing/2014/main" id="{6E9DB8C8-94E9-7A85-603B-AC7EBB5FF3B5}"/>
              </a:ext>
            </a:extLst>
          </p:cNvPr>
          <p:cNvPicPr>
            <a:picLocks noChangeAspect="1"/>
          </p:cNvPicPr>
          <p:nvPr>
            <p:custDataLst>
              <p:tags r:id="rId1"/>
            </p:custDataLst>
          </p:nvPr>
        </p:nvPicPr>
        <p:blipFill>
          <a:blip r:embed="rId4"/>
          <a:srcRect/>
          <a:stretch>
            <a:fillRect/>
          </a:stretch>
        </p:blipFill>
        <p:spPr>
          <a:xfrm>
            <a:off x="0" y="0"/>
            <a:ext cx="12192000" cy="6857999"/>
          </a:xfrm>
          <a:prstGeom prst="rect">
            <a:avLst/>
          </a:prstGeom>
        </p:spPr>
      </p:pic>
    </p:spTree>
    <p:extLst>
      <p:ext uri="{BB962C8B-B14F-4D97-AF65-F5344CB8AC3E}">
        <p14:creationId xmlns:p14="http://schemas.microsoft.com/office/powerpoint/2010/main" val="9445129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title="CoVDP_IAI report_amc">
            <a:hlinkClick r:id="rId3" tooltip="Open 'CoVDP_IAI report_amc' in PowerBI"/>
            <a:extLst>
              <a:ext uri="{FF2B5EF4-FFF2-40B4-BE49-F238E27FC236}">
                <a16:creationId xmlns:a16="http://schemas.microsoft.com/office/drawing/2014/main" id="{A138E460-9627-B4C5-5D54-4815C20B93E8}"/>
              </a:ext>
            </a:extLst>
          </p:cNvPr>
          <p:cNvPicPr>
            <a:picLocks noChangeAspect="1"/>
          </p:cNvPicPr>
          <p:nvPr>
            <p:custDataLst>
              <p:tags r:id="rId1"/>
            </p:custDataLst>
          </p:nvPr>
        </p:nvPicPr>
        <p:blipFill>
          <a:blip r:embed="rId4"/>
          <a:srcRect/>
          <a:stretch>
            <a:fillRect/>
          </a:stretch>
        </p:blipFill>
        <p:spPr>
          <a:xfrm>
            <a:off x="0" y="0"/>
            <a:ext cx="12192000" cy="6857999"/>
          </a:xfrm>
          <a:prstGeom prst="rect">
            <a:avLst/>
          </a:prstGeom>
        </p:spPr>
      </p:pic>
    </p:spTree>
    <p:extLst>
      <p:ext uri="{BB962C8B-B14F-4D97-AF65-F5344CB8AC3E}">
        <p14:creationId xmlns:p14="http://schemas.microsoft.com/office/powerpoint/2010/main" val="6365621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title="CoVDP_IAI report_amc">
            <a:hlinkClick r:id="rId3" tooltip="Open 'CoVDP_IAI report_amc' in PowerBI"/>
            <a:extLst>
              <a:ext uri="{FF2B5EF4-FFF2-40B4-BE49-F238E27FC236}">
                <a16:creationId xmlns:a16="http://schemas.microsoft.com/office/drawing/2014/main" id="{1D16E804-282A-DA46-5BCE-539720A63340}"/>
              </a:ext>
            </a:extLst>
          </p:cNvPr>
          <p:cNvPicPr>
            <a:picLocks noChangeAspect="1"/>
          </p:cNvPicPr>
          <p:nvPr>
            <p:custDataLst>
              <p:tags r:id="rId1"/>
            </p:custDataLst>
          </p:nvPr>
        </p:nvPicPr>
        <p:blipFill>
          <a:blip r:embed="rId4"/>
          <a:srcRect/>
          <a:stretch>
            <a:fillRect/>
          </a:stretch>
        </p:blipFill>
        <p:spPr>
          <a:xfrm>
            <a:off x="0" y="0"/>
            <a:ext cx="12192000" cy="6857999"/>
          </a:xfrm>
          <a:prstGeom prst="rect">
            <a:avLst/>
          </a:prstGeom>
        </p:spPr>
      </p:pic>
    </p:spTree>
    <p:extLst>
      <p:ext uri="{BB962C8B-B14F-4D97-AF65-F5344CB8AC3E}">
        <p14:creationId xmlns:p14="http://schemas.microsoft.com/office/powerpoint/2010/main" val="7976401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title="CoVDP_IAI report_amc">
            <a:hlinkClick r:id="rId3" tooltip="Open 'CoVDP_IAI report_amc' in PowerBI"/>
            <a:extLst>
              <a:ext uri="{FF2B5EF4-FFF2-40B4-BE49-F238E27FC236}">
                <a16:creationId xmlns:a16="http://schemas.microsoft.com/office/drawing/2014/main" id="{796AFDE7-F563-EC59-D144-4DBA6F4188E7}"/>
              </a:ext>
            </a:extLst>
          </p:cNvPr>
          <p:cNvPicPr>
            <a:picLocks noChangeAspect="1"/>
          </p:cNvPicPr>
          <p:nvPr>
            <p:custDataLst>
              <p:tags r:id="rId1"/>
            </p:custDataLst>
          </p:nvPr>
        </p:nvPicPr>
        <p:blipFill>
          <a:blip r:embed="rId4"/>
          <a:srcRect/>
          <a:stretch>
            <a:fillRect/>
          </a:stretch>
        </p:blipFill>
        <p:spPr>
          <a:xfrm>
            <a:off x="0" y="0"/>
            <a:ext cx="12192000" cy="6857999"/>
          </a:xfrm>
          <a:prstGeom prst="rect">
            <a:avLst/>
          </a:prstGeom>
        </p:spPr>
      </p:pic>
    </p:spTree>
    <p:extLst>
      <p:ext uri="{BB962C8B-B14F-4D97-AF65-F5344CB8AC3E}">
        <p14:creationId xmlns:p14="http://schemas.microsoft.com/office/powerpoint/2010/main" val="16564768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title="CoVDP_IAI report_amc">
            <a:hlinkClick r:id="rId3" tooltip="Open 'CoVDP_IAI report_amc' in PowerBI"/>
            <a:extLst>
              <a:ext uri="{FF2B5EF4-FFF2-40B4-BE49-F238E27FC236}">
                <a16:creationId xmlns:a16="http://schemas.microsoft.com/office/drawing/2014/main" id="{A43CAC19-E8F0-96E0-8732-7D89C7EFC5FD}"/>
              </a:ext>
            </a:extLst>
          </p:cNvPr>
          <p:cNvPicPr>
            <a:picLocks noChangeAspect="1"/>
          </p:cNvPicPr>
          <p:nvPr>
            <p:custDataLst>
              <p:tags r:id="rId1"/>
            </p:custDataLst>
          </p:nvPr>
        </p:nvPicPr>
        <p:blipFill>
          <a:blip r:embed="rId4"/>
          <a:srcRect/>
          <a:stretch>
            <a:fillRect/>
          </a:stretch>
        </p:blipFill>
        <p:spPr>
          <a:xfrm>
            <a:off x="0" y="0"/>
            <a:ext cx="12192000" cy="6857999"/>
          </a:xfrm>
          <a:prstGeom prst="rect">
            <a:avLst/>
          </a:prstGeom>
        </p:spPr>
      </p:pic>
    </p:spTree>
    <p:extLst>
      <p:ext uri="{BB962C8B-B14F-4D97-AF65-F5344CB8AC3E}">
        <p14:creationId xmlns:p14="http://schemas.microsoft.com/office/powerpoint/2010/main" val="42200277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title="CoVDP_IAI report_amc">
            <a:hlinkClick r:id="rId3" tooltip="Open 'CoVDP_IAI report_amc' in PowerBI"/>
            <a:extLst>
              <a:ext uri="{FF2B5EF4-FFF2-40B4-BE49-F238E27FC236}">
                <a16:creationId xmlns:a16="http://schemas.microsoft.com/office/drawing/2014/main" id="{ABB44E8B-6037-965B-DAB7-7EDC9E713A89}"/>
              </a:ext>
            </a:extLst>
          </p:cNvPr>
          <p:cNvPicPr>
            <a:picLocks noChangeAspect="1"/>
          </p:cNvPicPr>
          <p:nvPr>
            <p:custDataLst>
              <p:tags r:id="rId1"/>
            </p:custDataLst>
          </p:nvPr>
        </p:nvPicPr>
        <p:blipFill>
          <a:blip r:embed="rId4"/>
          <a:srcRect/>
          <a:stretch>
            <a:fillRect/>
          </a:stretch>
        </p:blipFill>
        <p:spPr>
          <a:xfrm>
            <a:off x="0" y="0"/>
            <a:ext cx="12192000" cy="6857999"/>
          </a:xfrm>
          <a:prstGeom prst="rect">
            <a:avLst/>
          </a:prstGeom>
        </p:spPr>
      </p:pic>
    </p:spTree>
    <p:extLst>
      <p:ext uri="{BB962C8B-B14F-4D97-AF65-F5344CB8AC3E}">
        <p14:creationId xmlns:p14="http://schemas.microsoft.com/office/powerpoint/2010/main" val="13314620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title="CoVDP_IAI report_amc">
            <a:hlinkClick r:id="rId3" tooltip="Open 'CoVDP_IAI report_amc' in PowerBI"/>
            <a:extLst>
              <a:ext uri="{FF2B5EF4-FFF2-40B4-BE49-F238E27FC236}">
                <a16:creationId xmlns:a16="http://schemas.microsoft.com/office/drawing/2014/main" id="{EE5F79CE-2A2C-CD82-2B86-E9B4C39C83A0}"/>
              </a:ext>
            </a:extLst>
          </p:cNvPr>
          <p:cNvPicPr>
            <a:picLocks noChangeAspect="1"/>
          </p:cNvPicPr>
          <p:nvPr>
            <p:custDataLst>
              <p:tags r:id="rId1"/>
            </p:custDataLst>
          </p:nvPr>
        </p:nvPicPr>
        <p:blipFill>
          <a:blip r:embed="rId4"/>
          <a:srcRect/>
          <a:stretch>
            <a:fillRect/>
          </a:stretch>
        </p:blipFill>
        <p:spPr>
          <a:xfrm>
            <a:off x="0" y="0"/>
            <a:ext cx="12192000" cy="6858000"/>
          </a:xfrm>
          <a:prstGeom prst="rect">
            <a:avLst/>
          </a:prstGeom>
        </p:spPr>
      </p:pic>
    </p:spTree>
    <p:extLst>
      <p:ext uri="{BB962C8B-B14F-4D97-AF65-F5344CB8AC3E}">
        <p14:creationId xmlns:p14="http://schemas.microsoft.com/office/powerpoint/2010/main" val="24486679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title="CoVDP_IAI report_amc">
            <a:hlinkClick r:id="rId3" tooltip="Open 'CoVDP_IAI report_amc' in PowerBI"/>
            <a:extLst>
              <a:ext uri="{FF2B5EF4-FFF2-40B4-BE49-F238E27FC236}">
                <a16:creationId xmlns:a16="http://schemas.microsoft.com/office/drawing/2014/main" id="{04C04321-C96F-B039-5D43-4A7553511377}"/>
              </a:ext>
            </a:extLst>
          </p:cNvPr>
          <p:cNvPicPr>
            <a:picLocks noChangeAspect="1"/>
          </p:cNvPicPr>
          <p:nvPr>
            <p:custDataLst>
              <p:tags r:id="rId1"/>
            </p:custDataLst>
          </p:nvPr>
        </p:nvPicPr>
        <p:blipFill>
          <a:blip r:embed="rId4"/>
          <a:srcRect/>
          <a:stretch>
            <a:fillRect/>
          </a:stretch>
        </p:blipFill>
        <p:spPr>
          <a:xfrm>
            <a:off x="0" y="0"/>
            <a:ext cx="12192000" cy="6857999"/>
          </a:xfrm>
          <a:prstGeom prst="rect">
            <a:avLst/>
          </a:prstGeom>
        </p:spPr>
      </p:pic>
    </p:spTree>
    <p:extLst>
      <p:ext uri="{BB962C8B-B14F-4D97-AF65-F5344CB8AC3E}">
        <p14:creationId xmlns:p14="http://schemas.microsoft.com/office/powerpoint/2010/main" val="30549955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title="CoVDP_IAI report_amc">
            <a:hlinkClick r:id="rId3" tooltip="Open 'CoVDP_IAI report_amc' in PowerBI"/>
            <a:extLst>
              <a:ext uri="{FF2B5EF4-FFF2-40B4-BE49-F238E27FC236}">
                <a16:creationId xmlns:a16="http://schemas.microsoft.com/office/drawing/2014/main" id="{872B0B26-CE0F-ED28-3EDB-D14C227D8F84}"/>
              </a:ext>
            </a:extLst>
          </p:cNvPr>
          <p:cNvPicPr>
            <a:picLocks noChangeAspect="1"/>
          </p:cNvPicPr>
          <p:nvPr>
            <p:custDataLst>
              <p:tags r:id="rId1"/>
            </p:custDataLst>
          </p:nvPr>
        </p:nvPicPr>
        <p:blipFill>
          <a:blip r:embed="rId4"/>
          <a:srcRect/>
          <a:stretch>
            <a:fillRect/>
          </a:stretch>
        </p:blipFill>
        <p:spPr>
          <a:xfrm>
            <a:off x="0" y="0"/>
            <a:ext cx="12192000" cy="6857999"/>
          </a:xfrm>
          <a:prstGeom prst="rect">
            <a:avLst/>
          </a:prstGeom>
        </p:spPr>
      </p:pic>
    </p:spTree>
    <p:extLst>
      <p:ext uri="{BB962C8B-B14F-4D97-AF65-F5344CB8AC3E}">
        <p14:creationId xmlns:p14="http://schemas.microsoft.com/office/powerpoint/2010/main" val="42892316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title="CoVDP_IAI report_amc">
            <a:hlinkClick r:id="rId3" tooltip="Open 'CoVDP_IAI report_amc' in PowerBI"/>
            <a:extLst>
              <a:ext uri="{FF2B5EF4-FFF2-40B4-BE49-F238E27FC236}">
                <a16:creationId xmlns:a16="http://schemas.microsoft.com/office/drawing/2014/main" id="{C4B0606E-5CC1-A981-581A-B1953D8D598E}"/>
              </a:ext>
            </a:extLst>
          </p:cNvPr>
          <p:cNvPicPr>
            <a:picLocks noChangeAspect="1"/>
          </p:cNvPicPr>
          <p:nvPr>
            <p:custDataLst>
              <p:tags r:id="rId1"/>
            </p:custDataLst>
          </p:nvPr>
        </p:nvPicPr>
        <p:blipFill>
          <a:blip r:embed="rId4"/>
          <a:srcRect/>
          <a:stretch>
            <a:fillRect/>
          </a:stretch>
        </p:blipFill>
        <p:spPr>
          <a:xfrm>
            <a:off x="0" y="0"/>
            <a:ext cx="12192000" cy="6857999"/>
          </a:xfrm>
          <a:prstGeom prst="rect">
            <a:avLst/>
          </a:prstGeom>
        </p:spPr>
      </p:pic>
    </p:spTree>
    <p:extLst>
      <p:ext uri="{BB962C8B-B14F-4D97-AF65-F5344CB8AC3E}">
        <p14:creationId xmlns:p14="http://schemas.microsoft.com/office/powerpoint/2010/main" val="24003839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55AFFEC-E323-4E4A-A5B1-C5FF1EF412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6" name="Object 5" hidden="1">
                        <a:extLst>
                          <a:ext uri="{FF2B5EF4-FFF2-40B4-BE49-F238E27FC236}">
                            <a16:creationId xmlns:a16="http://schemas.microsoft.com/office/drawing/2014/main" id="{E55AFFEC-E323-4E4A-A5B1-C5FF1EF412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D5128F6-B050-450F-B92E-C95727C82DE6}"/>
              </a:ext>
            </a:extLst>
          </p:cNvPr>
          <p:cNvSpPr>
            <a:spLocks noGrp="1"/>
          </p:cNvSpPr>
          <p:nvPr>
            <p:ph type="title"/>
          </p:nvPr>
        </p:nvSpPr>
        <p:spPr>
          <a:xfrm>
            <a:off x="554736" y="197613"/>
            <a:ext cx="11082528" cy="369332"/>
          </a:xfrm>
        </p:spPr>
        <p:txBody>
          <a:bodyPr vert="horz"/>
          <a:lstStyle/>
          <a:p>
            <a:r>
              <a:rPr lang="en-GB" sz="2400"/>
              <a:t>Notes &amp; disclaimer</a:t>
            </a:r>
          </a:p>
        </p:txBody>
      </p:sp>
      <p:graphicFrame>
        <p:nvGraphicFramePr>
          <p:cNvPr id="11" name="Table 11">
            <a:extLst>
              <a:ext uri="{FF2B5EF4-FFF2-40B4-BE49-F238E27FC236}">
                <a16:creationId xmlns:a16="http://schemas.microsoft.com/office/drawing/2014/main" id="{49FEEAAB-5895-41FA-915D-C4D32131B76A}"/>
              </a:ext>
            </a:extLst>
          </p:cNvPr>
          <p:cNvGraphicFramePr>
            <a:graphicFrameLocks noGrp="1"/>
          </p:cNvGraphicFramePr>
          <p:nvPr>
            <p:extLst>
              <p:ext uri="{D42A27DB-BD31-4B8C-83A1-F6EECF244321}">
                <p14:modId xmlns:p14="http://schemas.microsoft.com/office/powerpoint/2010/main" val="3575040266"/>
              </p:ext>
            </p:extLst>
          </p:nvPr>
        </p:nvGraphicFramePr>
        <p:xfrm>
          <a:off x="554737" y="964215"/>
          <a:ext cx="11082527" cy="4975680"/>
        </p:xfrm>
        <a:graphic>
          <a:graphicData uri="http://schemas.openxmlformats.org/drawingml/2006/table">
            <a:tbl>
              <a:tblPr firstRow="1" bandRow="1">
                <a:tableStyleId>{2D5ABB26-0587-4C30-8999-92F81FD0307C}</a:tableStyleId>
              </a:tblPr>
              <a:tblGrid>
                <a:gridCol w="1798200">
                  <a:extLst>
                    <a:ext uri="{9D8B030D-6E8A-4147-A177-3AD203B41FA5}">
                      <a16:colId xmlns:a16="http://schemas.microsoft.com/office/drawing/2014/main" val="3652347298"/>
                    </a:ext>
                  </a:extLst>
                </a:gridCol>
                <a:gridCol w="9284327">
                  <a:extLst>
                    <a:ext uri="{9D8B030D-6E8A-4147-A177-3AD203B41FA5}">
                      <a16:colId xmlns:a16="http://schemas.microsoft.com/office/drawing/2014/main" val="1733877350"/>
                    </a:ext>
                  </a:extLst>
                </a:gridCol>
              </a:tblGrid>
              <a:tr h="370840">
                <a:tc>
                  <a:txBody>
                    <a:bodyPr/>
                    <a:lstStyle/>
                    <a:p>
                      <a:r>
                        <a:rPr lang="en-GB" sz="1200" b="1" u="sng"/>
                        <a:t>Description:</a:t>
                      </a:r>
                    </a:p>
                  </a:txBody>
                  <a:tcPr marT="108000" marB="180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kern="1200">
                          <a:solidFill>
                            <a:schemeClr val="tx1"/>
                          </a:solidFill>
                          <a:effectLst/>
                          <a:latin typeface="+mn-lt"/>
                          <a:ea typeface="+mn-ea"/>
                          <a:cs typeface="+mn-cs"/>
                        </a:rPr>
                        <a:t>A standard analytic report produced by the COVID-19 Vaccine Delivery Partnership (CoVDP) of key COVID-19 vaccine implementation data, including 1) daily vaccination rate, 2) population coverage, 3) supply secured &amp; received, and 4) product utilization data, for across COVAX AMC portfolio and CoVDP's Countries for Concerted Support</a:t>
                      </a:r>
                      <a:endParaRPr lang="en-US" sz="1100" b="0" i="0" kern="1200" dirty="0">
                        <a:solidFill>
                          <a:schemeClr val="tx1"/>
                        </a:solidFill>
                        <a:effectLst/>
                        <a:latin typeface="+mn-lt"/>
                        <a:ea typeface="+mn-ea"/>
                        <a:cs typeface="+mn-cs"/>
                      </a:endParaRPr>
                    </a:p>
                  </a:txBody>
                  <a:tcPr marT="108000" marB="180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37669411"/>
                  </a:ext>
                </a:extLst>
              </a:tr>
              <a:tr h="370840">
                <a:tc>
                  <a:txBody>
                    <a:bodyPr/>
                    <a:lstStyle/>
                    <a:p>
                      <a:r>
                        <a:rPr lang="en-GB" sz="1200" b="1" u="sng"/>
                        <a:t>Data inputs:</a:t>
                      </a:r>
                    </a:p>
                  </a:txBody>
                  <a:tcPr marT="108000" marB="180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100" b="0" i="0" kern="1200" dirty="0">
                          <a:solidFill>
                            <a:schemeClr val="tx1"/>
                          </a:solidFill>
                          <a:effectLst/>
                          <a:latin typeface="+mn-lt"/>
                          <a:ea typeface="+mn-ea"/>
                          <a:cs typeface="+mn-cs"/>
                        </a:rPr>
                        <a:t>COVAX/</a:t>
                      </a:r>
                      <a:r>
                        <a:rPr lang="en-US" sz="1100" b="0" i="0" kern="1200" dirty="0" err="1">
                          <a:solidFill>
                            <a:schemeClr val="tx1"/>
                          </a:solidFill>
                          <a:effectLst/>
                          <a:latin typeface="+mn-lt"/>
                          <a:ea typeface="+mn-ea"/>
                          <a:cs typeface="+mn-cs"/>
                        </a:rPr>
                        <a:t>CoVDP</a:t>
                      </a:r>
                      <a:r>
                        <a:rPr lang="en-US" sz="1100" b="0" i="0" kern="1200" dirty="0">
                          <a:solidFill>
                            <a:schemeClr val="tx1"/>
                          </a:solidFill>
                          <a:effectLst/>
                          <a:latin typeface="+mn-lt"/>
                          <a:ea typeface="+mn-ea"/>
                          <a:cs typeface="+mn-cs"/>
                        </a:rPr>
                        <a:t> Demand &amp; Supply Planning Mechanism data (Country coverage targets)</a:t>
                      </a:r>
                    </a:p>
                    <a:p>
                      <a:pPr marL="171450" indent="-171450">
                        <a:buFont typeface="Arial" panose="020B0604020202020204" pitchFamily="34" charset="0"/>
                        <a:buChar char="•"/>
                      </a:pPr>
                      <a:r>
                        <a:rPr lang="en-US" sz="1100" b="0" i="0" kern="1200" dirty="0">
                          <a:solidFill>
                            <a:schemeClr val="tx1"/>
                          </a:solidFill>
                          <a:effectLst/>
                          <a:latin typeface="+mn-lt"/>
                          <a:ea typeface="+mn-ea"/>
                          <a:cs typeface="+mn-cs"/>
                        </a:rPr>
                        <a:t>UN DESA Population Division Population Data (Total population; 12+ population; 18+ population; 60+ population)</a:t>
                      </a:r>
                    </a:p>
                    <a:p>
                      <a:pPr marL="171450" indent="-171450">
                        <a:buFont typeface="Arial" panose="020B0604020202020204" pitchFamily="34" charset="0"/>
                        <a:buChar char="•"/>
                      </a:pPr>
                      <a:r>
                        <a:rPr lang="en-US" sz="1100" b="0" i="0" kern="1200" dirty="0">
                          <a:solidFill>
                            <a:schemeClr val="tx1"/>
                          </a:solidFill>
                          <a:effectLst/>
                          <a:latin typeface="+mn-lt"/>
                          <a:ea typeface="+mn-ea"/>
                          <a:cs typeface="+mn-cs"/>
                        </a:rPr>
                        <a:t>UNICEF COVID-19 Vaccine Financial Monitoring Database (Total allocated external financing for vaccine delivery)</a:t>
                      </a:r>
                    </a:p>
                    <a:p>
                      <a:pPr marL="171450" indent="-171450">
                        <a:buFont typeface="Arial" panose="020B0604020202020204" pitchFamily="34" charset="0"/>
                        <a:buChar char="•"/>
                      </a:pPr>
                      <a:r>
                        <a:rPr lang="en-US" sz="1100" b="0" i="0" kern="1200" dirty="0">
                          <a:solidFill>
                            <a:schemeClr val="tx1"/>
                          </a:solidFill>
                          <a:effectLst/>
                          <a:latin typeface="+mn-lt"/>
                          <a:ea typeface="+mn-ea"/>
                          <a:cs typeface="+mn-cs"/>
                        </a:rPr>
                        <a:t>UNICEF COVID-19 Vaccine Market Dashboard Data (Total COVID-19 vaccine doses delivered [all sources])</a:t>
                      </a:r>
                    </a:p>
                    <a:p>
                      <a:pPr marL="171450" indent="-171450">
                        <a:buFont typeface="Arial" panose="020B0604020202020204" pitchFamily="34" charset="0"/>
                        <a:buChar char="•"/>
                      </a:pPr>
                      <a:r>
                        <a:rPr lang="en-US" sz="1100" b="0" i="0" kern="1200" dirty="0">
                          <a:solidFill>
                            <a:schemeClr val="tx1"/>
                          </a:solidFill>
                          <a:effectLst/>
                          <a:latin typeface="+mn-lt"/>
                          <a:ea typeface="+mn-ea"/>
                          <a:cs typeface="+mn-cs"/>
                        </a:rPr>
                        <a:t>WHO/UNICEF electronic Joint Reporting Form (</a:t>
                      </a:r>
                      <a:r>
                        <a:rPr lang="en-US" sz="1100" b="0" i="0" kern="1200" dirty="0" err="1">
                          <a:solidFill>
                            <a:schemeClr val="tx1"/>
                          </a:solidFill>
                          <a:effectLst/>
                          <a:latin typeface="+mn-lt"/>
                          <a:ea typeface="+mn-ea"/>
                          <a:cs typeface="+mn-cs"/>
                        </a:rPr>
                        <a:t>eJRF</a:t>
                      </a:r>
                      <a:r>
                        <a:rPr lang="en-US" sz="1100" b="0" i="0" kern="1200" dirty="0">
                          <a:solidFill>
                            <a:schemeClr val="tx1"/>
                          </a:solidFill>
                          <a:effectLst/>
                          <a:latin typeface="+mn-lt"/>
                          <a:ea typeface="+mn-ea"/>
                          <a:cs typeface="+mn-cs"/>
                        </a:rPr>
                        <a:t>) (Uptake in healthcare worker and 60+ populations, gender-disaggregated uptake) </a:t>
                      </a:r>
                    </a:p>
                    <a:p>
                      <a:pPr marL="171450" indent="-171450">
                        <a:buFont typeface="Arial" panose="020B0604020202020204" pitchFamily="34" charset="0"/>
                        <a:buChar char="•"/>
                      </a:pPr>
                      <a:r>
                        <a:rPr lang="en-US" sz="1100" b="0" i="0" kern="1200" dirty="0">
                          <a:solidFill>
                            <a:schemeClr val="tx1"/>
                          </a:solidFill>
                          <a:effectLst/>
                          <a:latin typeface="+mn-lt"/>
                          <a:ea typeface="+mn-ea"/>
                          <a:cs typeface="+mn-cs"/>
                        </a:rPr>
                        <a:t>WHO COVID-19 Vaccine Administration Data System (Total doses administered; Individuals with at least one dose; Individuals fully vaccinated)</a:t>
                      </a:r>
                    </a:p>
                  </a:txBody>
                  <a:tcPr marT="108000" marB="180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40277949"/>
                  </a:ext>
                </a:extLst>
              </a:tr>
              <a:tr h="370840">
                <a:tc>
                  <a:txBody>
                    <a:bodyPr/>
                    <a:lstStyle/>
                    <a:p>
                      <a:r>
                        <a:rPr lang="en-GB" sz="1200" b="1" u="sng"/>
                        <a:t>Methodology:</a:t>
                      </a:r>
                    </a:p>
                  </a:txBody>
                  <a:tcPr marT="108000" marB="180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kern="1200">
                          <a:solidFill>
                            <a:schemeClr val="tx1"/>
                          </a:solidFill>
                          <a:effectLst/>
                          <a:latin typeface="+mn-lt"/>
                          <a:ea typeface="+mn-ea"/>
                          <a:cs typeface="+mn-cs"/>
                        </a:rPr>
                        <a:t>Methods for analyses presented in this report are contained in the COVID-19 Vaccine Delivery Partnership Data &amp; Monitoring Coordination Manual (</a:t>
                      </a:r>
                      <a:r>
                        <a:rPr lang="en-US" sz="1100" b="0" i="0" u="sng" kern="1200">
                          <a:solidFill>
                            <a:schemeClr val="tx1"/>
                          </a:solidFill>
                          <a:effectLst/>
                          <a:latin typeface="+mn-lt"/>
                          <a:ea typeface="+mn-ea"/>
                          <a:cs typeface="+mn-cs"/>
                          <a:hlinkClick r:id="rId5"/>
                        </a:rPr>
                        <a:t>link</a:t>
                      </a:r>
                      <a:r>
                        <a:rPr lang="en-US" sz="1100" b="0" i="0" kern="1200">
                          <a:solidFill>
                            <a:schemeClr val="tx1"/>
                          </a:solidFill>
                          <a:effectLst/>
                          <a:latin typeface="+mn-lt"/>
                          <a:ea typeface="+mn-ea"/>
                          <a:cs typeface="+mn-cs"/>
                        </a:rPr>
                        <a:t>)</a:t>
                      </a:r>
                    </a:p>
                  </a:txBody>
                  <a:tcPr marT="108000" marB="180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15364923"/>
                  </a:ext>
                </a:extLst>
              </a:tr>
              <a:tr h="370840">
                <a:tc>
                  <a:txBody>
                    <a:bodyPr/>
                    <a:lstStyle/>
                    <a:p>
                      <a:r>
                        <a:rPr lang="en-GB" sz="1200" b="1" u="sng"/>
                        <a:t>Inquiries:</a:t>
                      </a:r>
                    </a:p>
                  </a:txBody>
                  <a:tcPr marT="108000" marB="180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kern="1200" dirty="0">
                          <a:solidFill>
                            <a:schemeClr val="tx1"/>
                          </a:solidFill>
                          <a:effectLst/>
                          <a:latin typeface="+mn-lt"/>
                          <a:ea typeface="+mn-ea"/>
                          <a:cs typeface="+mn-cs"/>
                        </a:rPr>
                        <a:t>Please contact Donald BROOKS (</a:t>
                      </a:r>
                      <a:r>
                        <a:rPr lang="en-US" sz="1100" b="0" i="0" kern="1200" dirty="0">
                          <a:solidFill>
                            <a:schemeClr val="tx1"/>
                          </a:solidFill>
                          <a:effectLst/>
                          <a:latin typeface="+mn-lt"/>
                          <a:ea typeface="+mn-ea"/>
                          <a:cs typeface="+mn-cs"/>
                          <a:hlinkClick r:id="rId6"/>
                        </a:rPr>
                        <a:t>brooksd@who.int</a:t>
                      </a:r>
                      <a:r>
                        <a:rPr lang="en-US" sz="1100" b="0" i="0" kern="1200" dirty="0">
                          <a:solidFill>
                            <a:schemeClr val="tx1"/>
                          </a:solidFill>
                          <a:effectLst/>
                          <a:latin typeface="+mn-lt"/>
                          <a:ea typeface="+mn-ea"/>
                          <a:cs typeface="+mn-cs"/>
                        </a:rPr>
                        <a:t>) and Rafael PANLILIO (</a:t>
                      </a:r>
                      <a:r>
                        <a:rPr lang="en-US" sz="1100" b="0" i="0" kern="1200" dirty="0">
                          <a:solidFill>
                            <a:schemeClr val="tx1"/>
                          </a:solidFill>
                          <a:effectLst/>
                          <a:latin typeface="+mn-lt"/>
                          <a:ea typeface="+mn-ea"/>
                          <a:cs typeface="+mn-cs"/>
                          <a:hlinkClick r:id="rId7"/>
                        </a:rPr>
                        <a:t>rpanlilio@unicef.org</a:t>
                      </a:r>
                      <a:r>
                        <a:rPr lang="en-US" sz="1100" b="0" i="0" kern="1200" dirty="0">
                          <a:solidFill>
                            <a:schemeClr val="tx1"/>
                          </a:solidFill>
                          <a:effectLst/>
                          <a:latin typeface="+mn-lt"/>
                          <a:ea typeface="+mn-ea"/>
                          <a:cs typeface="+mn-cs"/>
                        </a:rPr>
                        <a:t>)</a:t>
                      </a:r>
                    </a:p>
                  </a:txBody>
                  <a:tcPr marT="108000" marB="180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90159672"/>
                  </a:ext>
                </a:extLst>
              </a:tr>
              <a:tr h="370840">
                <a:tc>
                  <a:txBody>
                    <a:bodyPr/>
                    <a:lstStyle/>
                    <a:p>
                      <a:r>
                        <a:rPr lang="en-GB" sz="1200" b="1" u="sng"/>
                        <a:t>Disclaimer:</a:t>
                      </a:r>
                    </a:p>
                  </a:txBody>
                  <a:tcPr marT="108000" marB="180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100" b="0" i="0" kern="1200" dirty="0">
                          <a:solidFill>
                            <a:schemeClr val="tx1"/>
                          </a:solidFill>
                          <a:effectLst/>
                          <a:latin typeface="+mn-lt"/>
                          <a:ea typeface="+mn-ea"/>
                          <a:cs typeface="+mn-cs"/>
                        </a:rPr>
                        <a:t>The data found in this report have been produced and processed from sources believed to be reliable.  While these data and analyses are provided in good faith and to the best of the COVID-19 Vaccine Delivery Partnership’s (the "Partnership") knowledge, The Partnership does not commit to it being up to date.  While every effort is made to ensure the data quality, the data and analyses are provided “as is.”  The burden of fitness of the data and analyses lies completely with the user. The accuracy of any user’s statistical analysis and any reported findings are not the responsibility of the Partnership.  The Partnership does not make any warranty, express or implied, including warranties of fitness for a particular purpose, or assume any legal liability or responsibility for the accuracy, completeness, reliability, or usefulness of any information provided (either isolated or in the aggregate), or represent that its use would not infringe privately owned rights.</a:t>
                      </a:r>
                    </a:p>
                    <a:p>
                      <a:pPr marL="171450" indent="-171450">
                        <a:buFont typeface="Arial" panose="020B0604020202020204" pitchFamily="34" charset="0"/>
                        <a:buChar char="•"/>
                      </a:pPr>
                      <a:endParaRPr lang="en-US" sz="1100" b="0" i="0" kern="1200" dirty="0">
                        <a:solidFill>
                          <a:schemeClr val="tx1"/>
                        </a:solidFill>
                        <a:effectLst/>
                        <a:latin typeface="+mn-lt"/>
                        <a:ea typeface="+mn-ea"/>
                        <a:cs typeface="+mn-cs"/>
                      </a:endParaRPr>
                    </a:p>
                    <a:p>
                      <a:pPr marL="180975" indent="0">
                        <a:buFont typeface="Arial" panose="020B0604020202020204" pitchFamily="34" charset="0"/>
                        <a:buNone/>
                      </a:pPr>
                      <a:r>
                        <a:rPr lang="en-US" sz="1100" b="0" i="0" kern="1200" dirty="0">
                          <a:solidFill>
                            <a:schemeClr val="tx1"/>
                          </a:solidFill>
                          <a:effectLst/>
                          <a:latin typeface="+mn-lt"/>
                          <a:ea typeface="+mn-ea"/>
                          <a:cs typeface="+mn-cs"/>
                        </a:rPr>
                        <a:t>Maps in this report do not reflect a position by the Partnership on the legal status of any country or territory or the delimitation of any frontiers.  </a:t>
                      </a:r>
                    </a:p>
                  </a:txBody>
                  <a:tcPr marT="108000" marB="180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63613053"/>
                  </a:ext>
                </a:extLst>
              </a:tr>
            </a:tbl>
          </a:graphicData>
        </a:graphic>
      </p:graphicFrame>
    </p:spTree>
    <p:extLst>
      <p:ext uri="{BB962C8B-B14F-4D97-AF65-F5344CB8AC3E}">
        <p14:creationId xmlns:p14="http://schemas.microsoft.com/office/powerpoint/2010/main" val="8200528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title="CoVDP_IAI report_amc">
            <a:hlinkClick r:id="rId3" tooltip="Open 'CoVDP_IAI report_amc' in PowerBI"/>
            <a:extLst>
              <a:ext uri="{FF2B5EF4-FFF2-40B4-BE49-F238E27FC236}">
                <a16:creationId xmlns:a16="http://schemas.microsoft.com/office/drawing/2014/main" id="{C76B918F-59DF-5BE4-905A-5D7AD14CFA99}"/>
              </a:ext>
            </a:extLst>
          </p:cNvPr>
          <p:cNvPicPr>
            <a:picLocks noChangeAspect="1"/>
          </p:cNvPicPr>
          <p:nvPr>
            <p:custDataLst>
              <p:tags r:id="rId1"/>
            </p:custDataLst>
          </p:nvPr>
        </p:nvPicPr>
        <p:blipFill>
          <a:blip r:embed="rId4"/>
          <a:srcRect/>
          <a:stretch>
            <a:fillRect/>
          </a:stretch>
        </p:blipFill>
        <p:spPr>
          <a:xfrm>
            <a:off x="0" y="0"/>
            <a:ext cx="12192000" cy="6857999"/>
          </a:xfrm>
          <a:prstGeom prst="rect">
            <a:avLst/>
          </a:prstGeom>
        </p:spPr>
      </p:pic>
    </p:spTree>
    <p:extLst>
      <p:ext uri="{BB962C8B-B14F-4D97-AF65-F5344CB8AC3E}">
        <p14:creationId xmlns:p14="http://schemas.microsoft.com/office/powerpoint/2010/main" val="42426084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title="CoVDP_IAI report_amc">
            <a:hlinkClick r:id="rId3" tooltip="Open 'CoVDP_IAI report_amc' in PowerBI"/>
            <a:extLst>
              <a:ext uri="{FF2B5EF4-FFF2-40B4-BE49-F238E27FC236}">
                <a16:creationId xmlns:a16="http://schemas.microsoft.com/office/drawing/2014/main" id="{23BD73B8-751B-25B6-C43C-5B3FDB8074D8}"/>
              </a:ext>
            </a:extLst>
          </p:cNvPr>
          <p:cNvPicPr>
            <a:picLocks noChangeAspect="1"/>
          </p:cNvPicPr>
          <p:nvPr>
            <p:custDataLst>
              <p:tags r:id="rId1"/>
            </p:custDataLst>
          </p:nvPr>
        </p:nvPicPr>
        <p:blipFill>
          <a:blip r:embed="rId4"/>
          <a:srcRect/>
          <a:stretch>
            <a:fillRect/>
          </a:stretch>
        </p:blipFill>
        <p:spPr>
          <a:xfrm>
            <a:off x="0" y="0"/>
            <a:ext cx="12192000" cy="6857999"/>
          </a:xfrm>
          <a:prstGeom prst="rect">
            <a:avLst/>
          </a:prstGeom>
        </p:spPr>
      </p:pic>
    </p:spTree>
    <p:extLst>
      <p:ext uri="{BB962C8B-B14F-4D97-AF65-F5344CB8AC3E}">
        <p14:creationId xmlns:p14="http://schemas.microsoft.com/office/powerpoint/2010/main" val="16100385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title="CoVDP_IAI report_amc">
            <a:hlinkClick r:id="rId3" tooltip="Open 'CoVDP_IAI report_amc' in PowerBI"/>
            <a:extLst>
              <a:ext uri="{FF2B5EF4-FFF2-40B4-BE49-F238E27FC236}">
                <a16:creationId xmlns:a16="http://schemas.microsoft.com/office/drawing/2014/main" id="{294C6848-FF43-BBD4-FC73-4387EBBA6549}"/>
              </a:ext>
            </a:extLst>
          </p:cNvPr>
          <p:cNvPicPr>
            <a:picLocks noChangeAspect="1"/>
          </p:cNvPicPr>
          <p:nvPr>
            <p:custDataLst>
              <p:tags r:id="rId1"/>
            </p:custDataLst>
          </p:nvPr>
        </p:nvPicPr>
        <p:blipFill>
          <a:blip r:embed="rId4"/>
          <a:srcRect/>
          <a:stretch>
            <a:fillRect/>
          </a:stretch>
        </p:blipFill>
        <p:spPr>
          <a:xfrm>
            <a:off x="0" y="0"/>
            <a:ext cx="12192000" cy="6857999"/>
          </a:xfrm>
          <a:prstGeom prst="rect">
            <a:avLst/>
          </a:prstGeom>
        </p:spPr>
      </p:pic>
    </p:spTree>
    <p:extLst>
      <p:ext uri="{BB962C8B-B14F-4D97-AF65-F5344CB8AC3E}">
        <p14:creationId xmlns:p14="http://schemas.microsoft.com/office/powerpoint/2010/main" val="36180286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title="CoVDP_IAI report_amc">
            <a:hlinkClick r:id="rId3" tooltip="Open 'CoVDP_IAI report_amc' in PowerBI"/>
            <a:extLst>
              <a:ext uri="{FF2B5EF4-FFF2-40B4-BE49-F238E27FC236}">
                <a16:creationId xmlns:a16="http://schemas.microsoft.com/office/drawing/2014/main" id="{5C558AED-5127-9366-D900-D04A9FB4C5E4}"/>
              </a:ext>
            </a:extLst>
          </p:cNvPr>
          <p:cNvPicPr>
            <a:picLocks noChangeAspect="1"/>
          </p:cNvPicPr>
          <p:nvPr>
            <p:custDataLst>
              <p:tags r:id="rId1"/>
            </p:custDataLst>
          </p:nvPr>
        </p:nvPicPr>
        <p:blipFill>
          <a:blip r:embed="rId4"/>
          <a:srcRect/>
          <a:stretch>
            <a:fillRect/>
          </a:stretch>
        </p:blipFill>
        <p:spPr>
          <a:xfrm>
            <a:off x="0" y="0"/>
            <a:ext cx="12192000" cy="6857999"/>
          </a:xfrm>
          <a:prstGeom prst="rect">
            <a:avLst/>
          </a:prstGeom>
        </p:spPr>
      </p:pic>
    </p:spTree>
    <p:extLst>
      <p:ext uri="{BB962C8B-B14F-4D97-AF65-F5344CB8AC3E}">
        <p14:creationId xmlns:p14="http://schemas.microsoft.com/office/powerpoint/2010/main" val="32114788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title="CoVDP_IAI report_amc">
            <a:hlinkClick r:id="rId3" tooltip="Open 'CoVDP_IAI report_amc' in PowerBI"/>
            <a:extLst>
              <a:ext uri="{FF2B5EF4-FFF2-40B4-BE49-F238E27FC236}">
                <a16:creationId xmlns:a16="http://schemas.microsoft.com/office/drawing/2014/main" id="{BC282754-6C70-1207-2CCC-A18C436869D6}"/>
              </a:ext>
            </a:extLst>
          </p:cNvPr>
          <p:cNvPicPr>
            <a:picLocks noChangeAspect="1"/>
          </p:cNvPicPr>
          <p:nvPr>
            <p:custDataLst>
              <p:tags r:id="rId1"/>
            </p:custDataLst>
          </p:nvPr>
        </p:nvPicPr>
        <p:blipFill>
          <a:blip r:embed="rId4"/>
          <a:srcRect/>
          <a:stretch>
            <a:fillRect/>
          </a:stretch>
        </p:blipFill>
        <p:spPr>
          <a:xfrm>
            <a:off x="0" y="0"/>
            <a:ext cx="12192000" cy="6857999"/>
          </a:xfrm>
          <a:prstGeom prst="rect">
            <a:avLst/>
          </a:prstGeom>
        </p:spPr>
      </p:pic>
    </p:spTree>
    <p:extLst>
      <p:ext uri="{BB962C8B-B14F-4D97-AF65-F5344CB8AC3E}">
        <p14:creationId xmlns:p14="http://schemas.microsoft.com/office/powerpoint/2010/main" val="33327978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title="CoVDP_IAI report_amc">
            <a:hlinkClick r:id="rId3" tooltip="Open 'CoVDP_IAI report_amc' in PowerBI"/>
            <a:extLst>
              <a:ext uri="{FF2B5EF4-FFF2-40B4-BE49-F238E27FC236}">
                <a16:creationId xmlns:a16="http://schemas.microsoft.com/office/drawing/2014/main" id="{E5CF7D47-B806-8017-BA49-A525A9BC6E3F}"/>
              </a:ext>
            </a:extLst>
          </p:cNvPr>
          <p:cNvPicPr>
            <a:picLocks noChangeAspect="1"/>
          </p:cNvPicPr>
          <p:nvPr>
            <p:custDataLst>
              <p:tags r:id="rId1"/>
            </p:custDataLst>
          </p:nvPr>
        </p:nvPicPr>
        <p:blipFill>
          <a:blip r:embed="rId4"/>
          <a:srcRect/>
          <a:stretch>
            <a:fillRect/>
          </a:stretch>
        </p:blipFill>
        <p:spPr>
          <a:xfrm>
            <a:off x="0" y="0"/>
            <a:ext cx="12192000" cy="6857999"/>
          </a:xfrm>
          <a:prstGeom prst="rect">
            <a:avLst/>
          </a:prstGeom>
        </p:spPr>
      </p:pic>
    </p:spTree>
    <p:extLst>
      <p:ext uri="{BB962C8B-B14F-4D97-AF65-F5344CB8AC3E}">
        <p14:creationId xmlns:p14="http://schemas.microsoft.com/office/powerpoint/2010/main" val="159059405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title="CoVDP_IAI report_amc">
            <a:hlinkClick r:id="rId3" tooltip="Open 'CoVDP_IAI report_amc' in PowerBI"/>
            <a:extLst>
              <a:ext uri="{FF2B5EF4-FFF2-40B4-BE49-F238E27FC236}">
                <a16:creationId xmlns:a16="http://schemas.microsoft.com/office/drawing/2014/main" id="{18B57D41-CA66-8B6E-D536-EBE763999E25}"/>
              </a:ext>
            </a:extLst>
          </p:cNvPr>
          <p:cNvPicPr>
            <a:picLocks noChangeAspect="1"/>
          </p:cNvPicPr>
          <p:nvPr>
            <p:custDataLst>
              <p:tags r:id="rId1"/>
            </p:custDataLst>
          </p:nvPr>
        </p:nvPicPr>
        <p:blipFill>
          <a:blip r:embed="rId4"/>
          <a:srcRect/>
          <a:stretch>
            <a:fillRect/>
          </a:stretch>
        </p:blipFill>
        <p:spPr>
          <a:xfrm>
            <a:off x="0" y="0"/>
            <a:ext cx="12192000" cy="6857999"/>
          </a:xfrm>
          <a:prstGeom prst="rect">
            <a:avLst/>
          </a:prstGeom>
        </p:spPr>
      </p:pic>
    </p:spTree>
    <p:extLst>
      <p:ext uri="{BB962C8B-B14F-4D97-AF65-F5344CB8AC3E}">
        <p14:creationId xmlns:p14="http://schemas.microsoft.com/office/powerpoint/2010/main" val="90838979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title="CoVDP_IAI report_amc">
            <a:hlinkClick r:id="rId3" tooltip="Open 'CoVDP_IAI report_amc' in PowerBI"/>
            <a:extLst>
              <a:ext uri="{FF2B5EF4-FFF2-40B4-BE49-F238E27FC236}">
                <a16:creationId xmlns:a16="http://schemas.microsoft.com/office/drawing/2014/main" id="{CD7E5AF9-1CE8-6EB0-48D4-4B2579D14C15}"/>
              </a:ext>
            </a:extLst>
          </p:cNvPr>
          <p:cNvPicPr>
            <a:picLocks noChangeAspect="1"/>
          </p:cNvPicPr>
          <p:nvPr>
            <p:custDataLst>
              <p:tags r:id="rId1"/>
            </p:custDataLst>
          </p:nvPr>
        </p:nvPicPr>
        <p:blipFill>
          <a:blip r:embed="rId4"/>
          <a:srcRect/>
          <a:stretch>
            <a:fillRect/>
          </a:stretch>
        </p:blipFill>
        <p:spPr>
          <a:xfrm>
            <a:off x="0" y="0"/>
            <a:ext cx="12192000" cy="6857999"/>
          </a:xfrm>
          <a:prstGeom prst="rect">
            <a:avLst/>
          </a:prstGeom>
        </p:spPr>
      </p:pic>
    </p:spTree>
    <p:extLst>
      <p:ext uri="{BB962C8B-B14F-4D97-AF65-F5344CB8AC3E}">
        <p14:creationId xmlns:p14="http://schemas.microsoft.com/office/powerpoint/2010/main" val="40159305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D25B4DE-A4BD-44EA-97A9-40821E3FE3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4" hidden="1">
                        <a:extLst>
                          <a:ext uri="{FF2B5EF4-FFF2-40B4-BE49-F238E27FC236}">
                            <a16:creationId xmlns:a16="http://schemas.microsoft.com/office/drawing/2014/main" id="{6D25B4DE-A4BD-44EA-97A9-40821E3FE3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926555-EE26-4B68-9091-62C31ADD4B0D}"/>
              </a:ext>
            </a:extLst>
          </p:cNvPr>
          <p:cNvSpPr>
            <a:spLocks noGrp="1"/>
          </p:cNvSpPr>
          <p:nvPr>
            <p:ph type="title"/>
          </p:nvPr>
        </p:nvSpPr>
        <p:spPr/>
        <p:txBody>
          <a:bodyPr vert="horz"/>
          <a:lstStyle/>
          <a:p>
            <a:r>
              <a:rPr lang="en-GB" dirty="0"/>
              <a:t>II. Concerted support countries analysis </a:t>
            </a:r>
          </a:p>
        </p:txBody>
      </p:sp>
    </p:spTree>
    <p:extLst>
      <p:ext uri="{BB962C8B-B14F-4D97-AF65-F5344CB8AC3E}">
        <p14:creationId xmlns:p14="http://schemas.microsoft.com/office/powerpoint/2010/main" val="34343955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title="CoVDP_IAI report_amc">
            <a:hlinkClick r:id="rId3" tooltip="Open 'CoVDP_IAI report_amc' in PowerBI"/>
            <a:extLst>
              <a:ext uri="{FF2B5EF4-FFF2-40B4-BE49-F238E27FC236}">
                <a16:creationId xmlns:a16="http://schemas.microsoft.com/office/drawing/2014/main" id="{CBB2DF76-B6C1-25A9-ACDB-DCBB0949FA66}"/>
              </a:ext>
            </a:extLst>
          </p:cNvPr>
          <p:cNvPicPr>
            <a:picLocks noChangeAspect="1"/>
          </p:cNvPicPr>
          <p:nvPr>
            <p:custDataLst>
              <p:tags r:id="rId1"/>
            </p:custDataLst>
          </p:nvPr>
        </p:nvPicPr>
        <p:blipFill>
          <a:blip r:embed="rId4"/>
          <a:srcRect/>
          <a:stretch>
            <a:fillRect/>
          </a:stretch>
        </p:blipFill>
        <p:spPr>
          <a:xfrm>
            <a:off x="0" y="0"/>
            <a:ext cx="12192000" cy="6857999"/>
          </a:xfrm>
          <a:prstGeom prst="rect">
            <a:avLst/>
          </a:prstGeom>
        </p:spPr>
      </p:pic>
    </p:spTree>
    <p:extLst>
      <p:ext uri="{BB962C8B-B14F-4D97-AF65-F5344CB8AC3E}">
        <p14:creationId xmlns:p14="http://schemas.microsoft.com/office/powerpoint/2010/main" val="40944542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D25B4DE-A4BD-44EA-97A9-40821E3FE3D8}"/>
              </a:ext>
            </a:extLst>
          </p:cNvPr>
          <p:cNvGraphicFramePr>
            <a:graphicFrameLocks noChangeAspect="1"/>
          </p:cNvGraphicFramePr>
          <p:nvPr>
            <p:custDataLst>
              <p:tags r:id="rId1"/>
            </p:custDataLst>
            <p:extLst>
              <p:ext uri="{D42A27DB-BD31-4B8C-83A1-F6EECF244321}">
                <p14:modId xmlns:p14="http://schemas.microsoft.com/office/powerpoint/2010/main" val="3962909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4" hidden="1">
                        <a:extLst>
                          <a:ext uri="{FF2B5EF4-FFF2-40B4-BE49-F238E27FC236}">
                            <a16:creationId xmlns:a16="http://schemas.microsoft.com/office/drawing/2014/main" id="{6D25B4DE-A4BD-44EA-97A9-40821E3FE3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926555-EE26-4B68-9091-62C31ADD4B0D}"/>
              </a:ext>
            </a:extLst>
          </p:cNvPr>
          <p:cNvSpPr>
            <a:spLocks noGrp="1"/>
          </p:cNvSpPr>
          <p:nvPr>
            <p:ph type="title"/>
          </p:nvPr>
        </p:nvSpPr>
        <p:spPr/>
        <p:txBody>
          <a:bodyPr vert="horz"/>
          <a:lstStyle/>
          <a:p>
            <a:r>
              <a:rPr lang="en-GB"/>
              <a:t>I. AMC92 portfolio analysis</a:t>
            </a:r>
          </a:p>
        </p:txBody>
      </p:sp>
    </p:spTree>
    <p:extLst>
      <p:ext uri="{BB962C8B-B14F-4D97-AF65-F5344CB8AC3E}">
        <p14:creationId xmlns:p14="http://schemas.microsoft.com/office/powerpoint/2010/main" val="257615554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title="CoVDP_IAI report_amc">
            <a:hlinkClick r:id="rId3" tooltip="Open 'CoVDP_IAI report_amc' in PowerBI"/>
            <a:extLst>
              <a:ext uri="{FF2B5EF4-FFF2-40B4-BE49-F238E27FC236}">
                <a16:creationId xmlns:a16="http://schemas.microsoft.com/office/drawing/2014/main" id="{509611F2-3F86-3005-8C4E-09100D79264D}"/>
              </a:ext>
            </a:extLst>
          </p:cNvPr>
          <p:cNvPicPr>
            <a:picLocks noChangeAspect="1"/>
          </p:cNvPicPr>
          <p:nvPr>
            <p:custDataLst>
              <p:tags r:id="rId1"/>
            </p:custDataLst>
          </p:nvPr>
        </p:nvPicPr>
        <p:blipFill>
          <a:blip r:embed="rId4"/>
          <a:srcRect/>
          <a:stretch>
            <a:fillRect/>
          </a:stretch>
        </p:blipFill>
        <p:spPr>
          <a:xfrm>
            <a:off x="0" y="0"/>
            <a:ext cx="12192000" cy="6857999"/>
          </a:xfrm>
          <a:prstGeom prst="rect">
            <a:avLst/>
          </a:prstGeom>
        </p:spPr>
      </p:pic>
    </p:spTree>
    <p:extLst>
      <p:ext uri="{BB962C8B-B14F-4D97-AF65-F5344CB8AC3E}">
        <p14:creationId xmlns:p14="http://schemas.microsoft.com/office/powerpoint/2010/main" val="324917620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title="CoVDP_IAI report_amc">
            <a:hlinkClick r:id="rId3" tooltip="Open 'CoVDP_IAI report_amc' in PowerBI"/>
            <a:extLst>
              <a:ext uri="{FF2B5EF4-FFF2-40B4-BE49-F238E27FC236}">
                <a16:creationId xmlns:a16="http://schemas.microsoft.com/office/drawing/2014/main" id="{4DBACD96-D03C-ECAA-A3B9-639F73E608ED}"/>
              </a:ext>
            </a:extLst>
          </p:cNvPr>
          <p:cNvPicPr>
            <a:picLocks noChangeAspect="1"/>
          </p:cNvPicPr>
          <p:nvPr>
            <p:custDataLst>
              <p:tags r:id="rId1"/>
            </p:custDataLst>
          </p:nvPr>
        </p:nvPicPr>
        <p:blipFill>
          <a:blip r:embed="rId4"/>
          <a:srcRect/>
          <a:stretch>
            <a:fillRect/>
          </a:stretch>
        </p:blipFill>
        <p:spPr>
          <a:xfrm>
            <a:off x="0" y="0"/>
            <a:ext cx="12192000" cy="6857999"/>
          </a:xfrm>
          <a:prstGeom prst="rect">
            <a:avLst/>
          </a:prstGeom>
        </p:spPr>
      </p:pic>
    </p:spTree>
    <p:extLst>
      <p:ext uri="{BB962C8B-B14F-4D97-AF65-F5344CB8AC3E}">
        <p14:creationId xmlns:p14="http://schemas.microsoft.com/office/powerpoint/2010/main" val="246769705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title="CoVDP_IAI report_amc">
            <a:hlinkClick r:id="rId3" tooltip="Open 'CoVDP_IAI report_amc' in PowerBI"/>
            <a:extLst>
              <a:ext uri="{FF2B5EF4-FFF2-40B4-BE49-F238E27FC236}">
                <a16:creationId xmlns:a16="http://schemas.microsoft.com/office/drawing/2014/main" id="{2BE53E15-C3DC-8200-EFAA-773F717BAF92}"/>
              </a:ext>
            </a:extLst>
          </p:cNvPr>
          <p:cNvPicPr>
            <a:picLocks noChangeAspect="1"/>
          </p:cNvPicPr>
          <p:nvPr>
            <p:custDataLst>
              <p:tags r:id="rId1"/>
            </p:custDataLst>
          </p:nvPr>
        </p:nvPicPr>
        <p:blipFill>
          <a:blip r:embed="rId4"/>
          <a:srcRect/>
          <a:stretch>
            <a:fillRect/>
          </a:stretch>
        </p:blipFill>
        <p:spPr>
          <a:xfrm>
            <a:off x="0" y="0"/>
            <a:ext cx="12192000" cy="6857999"/>
          </a:xfrm>
          <a:prstGeom prst="rect">
            <a:avLst/>
          </a:prstGeom>
        </p:spPr>
      </p:pic>
    </p:spTree>
    <p:extLst>
      <p:ext uri="{BB962C8B-B14F-4D97-AF65-F5344CB8AC3E}">
        <p14:creationId xmlns:p14="http://schemas.microsoft.com/office/powerpoint/2010/main" val="253606283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title="CoVDP_IAI report_amc">
            <a:hlinkClick r:id="rId3" tooltip="Open 'CoVDP_IAI report_amc' in PowerBI"/>
            <a:extLst>
              <a:ext uri="{FF2B5EF4-FFF2-40B4-BE49-F238E27FC236}">
                <a16:creationId xmlns:a16="http://schemas.microsoft.com/office/drawing/2014/main" id="{81AD6414-C598-29FF-6F6B-4BE48B32B524}"/>
              </a:ext>
            </a:extLst>
          </p:cNvPr>
          <p:cNvPicPr>
            <a:picLocks noChangeAspect="1"/>
          </p:cNvPicPr>
          <p:nvPr>
            <p:custDataLst>
              <p:tags r:id="rId1"/>
            </p:custDataLst>
          </p:nvPr>
        </p:nvPicPr>
        <p:blipFill>
          <a:blip r:embed="rId4"/>
          <a:srcRect/>
          <a:stretch>
            <a:fillRect/>
          </a:stretch>
        </p:blipFill>
        <p:spPr>
          <a:xfrm>
            <a:off x="0" y="0"/>
            <a:ext cx="12192000" cy="6857999"/>
          </a:xfrm>
          <a:prstGeom prst="rect">
            <a:avLst/>
          </a:prstGeom>
        </p:spPr>
      </p:pic>
    </p:spTree>
    <p:extLst>
      <p:ext uri="{BB962C8B-B14F-4D97-AF65-F5344CB8AC3E}">
        <p14:creationId xmlns:p14="http://schemas.microsoft.com/office/powerpoint/2010/main" val="62146691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title="CoVDP_IAI report_amc">
            <a:hlinkClick r:id="rId3" tooltip="Open 'CoVDP_IAI report_amc' in PowerBI"/>
            <a:extLst>
              <a:ext uri="{FF2B5EF4-FFF2-40B4-BE49-F238E27FC236}">
                <a16:creationId xmlns:a16="http://schemas.microsoft.com/office/drawing/2014/main" id="{B6E1C23F-D82C-C9CD-1422-2355D4C2F33D}"/>
              </a:ext>
            </a:extLst>
          </p:cNvPr>
          <p:cNvPicPr>
            <a:picLocks noChangeAspect="1"/>
          </p:cNvPicPr>
          <p:nvPr>
            <p:custDataLst>
              <p:tags r:id="rId1"/>
            </p:custDataLst>
          </p:nvPr>
        </p:nvPicPr>
        <p:blipFill>
          <a:blip r:embed="rId4"/>
          <a:srcRect/>
          <a:stretch>
            <a:fillRect/>
          </a:stretch>
        </p:blipFill>
        <p:spPr>
          <a:xfrm>
            <a:off x="0" y="0"/>
            <a:ext cx="12192000" cy="6857999"/>
          </a:xfrm>
          <a:prstGeom prst="rect">
            <a:avLst/>
          </a:prstGeom>
        </p:spPr>
      </p:pic>
    </p:spTree>
    <p:extLst>
      <p:ext uri="{BB962C8B-B14F-4D97-AF65-F5344CB8AC3E}">
        <p14:creationId xmlns:p14="http://schemas.microsoft.com/office/powerpoint/2010/main" val="21982198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title="CoVDP_IAI report_amc">
            <a:hlinkClick r:id="rId3" tooltip="Open 'CoVDP_IAI report_amc' in PowerBI"/>
            <a:extLst>
              <a:ext uri="{FF2B5EF4-FFF2-40B4-BE49-F238E27FC236}">
                <a16:creationId xmlns:a16="http://schemas.microsoft.com/office/drawing/2014/main" id="{B26F9E3E-A3FA-8A3B-20D5-42317AB3FCDC}"/>
              </a:ext>
            </a:extLst>
          </p:cNvPr>
          <p:cNvPicPr>
            <a:picLocks noChangeAspect="1"/>
          </p:cNvPicPr>
          <p:nvPr>
            <p:custDataLst>
              <p:tags r:id="rId1"/>
            </p:custDataLst>
          </p:nvPr>
        </p:nvPicPr>
        <p:blipFill>
          <a:blip r:embed="rId4"/>
          <a:srcRect/>
          <a:stretch>
            <a:fillRect/>
          </a:stretch>
        </p:blipFill>
        <p:spPr>
          <a:xfrm>
            <a:off x="0" y="0"/>
            <a:ext cx="12192000" cy="6857999"/>
          </a:xfrm>
          <a:prstGeom prst="rect">
            <a:avLst/>
          </a:prstGeom>
        </p:spPr>
      </p:pic>
    </p:spTree>
    <p:extLst>
      <p:ext uri="{BB962C8B-B14F-4D97-AF65-F5344CB8AC3E}">
        <p14:creationId xmlns:p14="http://schemas.microsoft.com/office/powerpoint/2010/main" val="13271683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title="CoVDP_IAI report_amc">
            <a:hlinkClick r:id="rId3" tooltip="Open 'CoVDP_IAI report_amc' in PowerBI"/>
            <a:extLst>
              <a:ext uri="{FF2B5EF4-FFF2-40B4-BE49-F238E27FC236}">
                <a16:creationId xmlns:a16="http://schemas.microsoft.com/office/drawing/2014/main" id="{C7DF42FA-F1A1-4276-2DB6-1D1CB743AF76}"/>
              </a:ext>
            </a:extLst>
          </p:cNvPr>
          <p:cNvPicPr>
            <a:picLocks noChangeAspect="1"/>
          </p:cNvPicPr>
          <p:nvPr>
            <p:custDataLst>
              <p:tags r:id="rId1"/>
            </p:custDataLst>
          </p:nvPr>
        </p:nvPicPr>
        <p:blipFill>
          <a:blip r:embed="rId4"/>
          <a:srcRect/>
          <a:stretch>
            <a:fillRect/>
          </a:stretch>
        </p:blipFill>
        <p:spPr>
          <a:xfrm>
            <a:off x="0" y="0"/>
            <a:ext cx="12192000" cy="6857999"/>
          </a:xfrm>
          <a:prstGeom prst="rect">
            <a:avLst/>
          </a:prstGeom>
        </p:spPr>
      </p:pic>
    </p:spTree>
    <p:extLst>
      <p:ext uri="{BB962C8B-B14F-4D97-AF65-F5344CB8AC3E}">
        <p14:creationId xmlns:p14="http://schemas.microsoft.com/office/powerpoint/2010/main" val="348871877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title="CoVDP_IAI report_amc">
            <a:hlinkClick r:id="rId3" tooltip="Open 'CoVDP_IAI report_amc' in PowerBI"/>
            <a:extLst>
              <a:ext uri="{FF2B5EF4-FFF2-40B4-BE49-F238E27FC236}">
                <a16:creationId xmlns:a16="http://schemas.microsoft.com/office/drawing/2014/main" id="{51709331-98F2-9807-A5AA-2E70D3AD54A7}"/>
              </a:ext>
            </a:extLst>
          </p:cNvPr>
          <p:cNvPicPr>
            <a:picLocks noChangeAspect="1"/>
          </p:cNvPicPr>
          <p:nvPr>
            <p:custDataLst>
              <p:tags r:id="rId1"/>
            </p:custDataLst>
          </p:nvPr>
        </p:nvPicPr>
        <p:blipFill>
          <a:blip r:embed="rId4"/>
          <a:srcRect/>
          <a:stretch>
            <a:fillRect/>
          </a:stretch>
        </p:blipFill>
        <p:spPr>
          <a:xfrm>
            <a:off x="0" y="0"/>
            <a:ext cx="12192000" cy="6857999"/>
          </a:xfrm>
          <a:prstGeom prst="rect">
            <a:avLst/>
          </a:prstGeom>
        </p:spPr>
      </p:pic>
    </p:spTree>
    <p:extLst>
      <p:ext uri="{BB962C8B-B14F-4D97-AF65-F5344CB8AC3E}">
        <p14:creationId xmlns:p14="http://schemas.microsoft.com/office/powerpoint/2010/main" val="368170153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title="CoVDP_IAI report_amc">
            <a:hlinkClick r:id="rId3" tooltip="Open 'CoVDP_IAI report_amc' in PowerBI"/>
            <a:extLst>
              <a:ext uri="{FF2B5EF4-FFF2-40B4-BE49-F238E27FC236}">
                <a16:creationId xmlns:a16="http://schemas.microsoft.com/office/drawing/2014/main" id="{315588F9-C221-71F7-285F-34F143B1048C}"/>
              </a:ext>
            </a:extLst>
          </p:cNvPr>
          <p:cNvPicPr>
            <a:picLocks noChangeAspect="1"/>
          </p:cNvPicPr>
          <p:nvPr>
            <p:custDataLst>
              <p:tags r:id="rId1"/>
            </p:custDataLst>
          </p:nvPr>
        </p:nvPicPr>
        <p:blipFill>
          <a:blip r:embed="rId4"/>
          <a:srcRect/>
          <a:stretch>
            <a:fillRect/>
          </a:stretch>
        </p:blipFill>
        <p:spPr>
          <a:xfrm>
            <a:off x="0" y="0"/>
            <a:ext cx="12192000" cy="6857999"/>
          </a:xfrm>
          <a:prstGeom prst="rect">
            <a:avLst/>
          </a:prstGeom>
        </p:spPr>
      </p:pic>
    </p:spTree>
    <p:extLst>
      <p:ext uri="{BB962C8B-B14F-4D97-AF65-F5344CB8AC3E}">
        <p14:creationId xmlns:p14="http://schemas.microsoft.com/office/powerpoint/2010/main" val="6781370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title="CoVDP_IAI report_amc">
            <a:hlinkClick r:id="rId3" tooltip="Open 'CoVDP_IAI report_amc' in PowerBI"/>
            <a:extLst>
              <a:ext uri="{FF2B5EF4-FFF2-40B4-BE49-F238E27FC236}">
                <a16:creationId xmlns:a16="http://schemas.microsoft.com/office/drawing/2014/main" id="{940BD6CF-AB8A-E03C-342F-2C40E41E6C55}"/>
              </a:ext>
            </a:extLst>
          </p:cNvPr>
          <p:cNvPicPr>
            <a:picLocks noChangeAspect="1"/>
          </p:cNvPicPr>
          <p:nvPr>
            <p:custDataLst>
              <p:tags r:id="rId1"/>
            </p:custDataLst>
          </p:nvPr>
        </p:nvPicPr>
        <p:blipFill>
          <a:blip r:embed="rId4"/>
          <a:srcRect/>
          <a:stretch>
            <a:fillRect/>
          </a:stretch>
        </p:blipFill>
        <p:spPr>
          <a:xfrm>
            <a:off x="0" y="0"/>
            <a:ext cx="12192000" cy="6857999"/>
          </a:xfrm>
          <a:prstGeom prst="rect">
            <a:avLst/>
          </a:prstGeom>
        </p:spPr>
      </p:pic>
    </p:spTree>
    <p:extLst>
      <p:ext uri="{BB962C8B-B14F-4D97-AF65-F5344CB8AC3E}">
        <p14:creationId xmlns:p14="http://schemas.microsoft.com/office/powerpoint/2010/main" val="16992618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title="CoVDP_IAI report_amc">
            <a:hlinkClick r:id="rId3" tooltip="Open 'CoVDP_IAI report_amc' in PowerBI"/>
            <a:extLst>
              <a:ext uri="{FF2B5EF4-FFF2-40B4-BE49-F238E27FC236}">
                <a16:creationId xmlns:a16="http://schemas.microsoft.com/office/drawing/2014/main" id="{A9C798DF-21F2-8C80-82E9-8576178B65BC}"/>
              </a:ext>
            </a:extLst>
          </p:cNvPr>
          <p:cNvPicPr>
            <a:picLocks noChangeAspect="1"/>
          </p:cNvPicPr>
          <p:nvPr>
            <p:custDataLst>
              <p:tags r:id="rId1"/>
            </p:custDataLst>
          </p:nvPr>
        </p:nvPicPr>
        <p:blipFill>
          <a:blip r:embed="rId4"/>
          <a:srcRect/>
          <a:stretch>
            <a:fillRect/>
          </a:stretch>
        </p:blipFill>
        <p:spPr>
          <a:xfrm>
            <a:off x="0" y="0"/>
            <a:ext cx="12192000" cy="6857999"/>
          </a:xfrm>
          <a:prstGeom prst="rect">
            <a:avLst/>
          </a:prstGeom>
        </p:spPr>
      </p:pic>
    </p:spTree>
    <p:extLst>
      <p:ext uri="{BB962C8B-B14F-4D97-AF65-F5344CB8AC3E}">
        <p14:creationId xmlns:p14="http://schemas.microsoft.com/office/powerpoint/2010/main" val="254468944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title="CoVDP_IAI report_amc">
            <a:hlinkClick r:id="rId3" tooltip="Open 'CoVDP_IAI report_amc' in PowerBI"/>
            <a:extLst>
              <a:ext uri="{FF2B5EF4-FFF2-40B4-BE49-F238E27FC236}">
                <a16:creationId xmlns:a16="http://schemas.microsoft.com/office/drawing/2014/main" id="{409C65F4-430A-2BA9-933C-9F3DA7D7D62F}"/>
              </a:ext>
            </a:extLst>
          </p:cNvPr>
          <p:cNvPicPr>
            <a:picLocks noChangeAspect="1"/>
          </p:cNvPicPr>
          <p:nvPr>
            <p:custDataLst>
              <p:tags r:id="rId1"/>
            </p:custDataLst>
          </p:nvPr>
        </p:nvPicPr>
        <p:blipFill>
          <a:blip r:embed="rId4"/>
          <a:srcRect/>
          <a:stretch>
            <a:fillRect/>
          </a:stretch>
        </p:blipFill>
        <p:spPr>
          <a:xfrm>
            <a:off x="0" y="-1"/>
            <a:ext cx="12192000" cy="6858001"/>
          </a:xfrm>
          <a:prstGeom prst="rect">
            <a:avLst/>
          </a:prstGeom>
        </p:spPr>
      </p:pic>
    </p:spTree>
    <p:extLst>
      <p:ext uri="{BB962C8B-B14F-4D97-AF65-F5344CB8AC3E}">
        <p14:creationId xmlns:p14="http://schemas.microsoft.com/office/powerpoint/2010/main" val="418867044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title="CoVDP_IAI report_amc">
            <a:hlinkClick r:id="rId3" tooltip="Open 'CoVDP_IAI report_amc' in PowerBI"/>
            <a:extLst>
              <a:ext uri="{FF2B5EF4-FFF2-40B4-BE49-F238E27FC236}">
                <a16:creationId xmlns:a16="http://schemas.microsoft.com/office/drawing/2014/main" id="{44B30DD7-6185-9E50-B58B-F4DCC93F1563}"/>
              </a:ext>
            </a:extLst>
          </p:cNvPr>
          <p:cNvPicPr>
            <a:picLocks noChangeAspect="1"/>
          </p:cNvPicPr>
          <p:nvPr>
            <p:custDataLst>
              <p:tags r:id="rId1"/>
            </p:custDataLst>
          </p:nvPr>
        </p:nvPicPr>
        <p:blipFill>
          <a:blip r:embed="rId4"/>
          <a:srcRect/>
          <a:stretch>
            <a:fillRect/>
          </a:stretch>
        </p:blipFill>
        <p:spPr>
          <a:xfrm>
            <a:off x="0" y="0"/>
            <a:ext cx="12192000" cy="6857999"/>
          </a:xfrm>
          <a:prstGeom prst="rect">
            <a:avLst/>
          </a:prstGeom>
        </p:spPr>
      </p:pic>
    </p:spTree>
    <p:extLst>
      <p:ext uri="{BB962C8B-B14F-4D97-AF65-F5344CB8AC3E}">
        <p14:creationId xmlns:p14="http://schemas.microsoft.com/office/powerpoint/2010/main" val="384907197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title="CoVDP_IAI report_amc">
            <a:hlinkClick r:id="rId3" tooltip="Open 'CoVDP_IAI report_amc' in PowerBI"/>
            <a:extLst>
              <a:ext uri="{FF2B5EF4-FFF2-40B4-BE49-F238E27FC236}">
                <a16:creationId xmlns:a16="http://schemas.microsoft.com/office/drawing/2014/main" id="{AFAE227E-C1EA-59FA-16D0-7D85C322A1B8}"/>
              </a:ext>
            </a:extLst>
          </p:cNvPr>
          <p:cNvPicPr>
            <a:picLocks noChangeAspect="1"/>
          </p:cNvPicPr>
          <p:nvPr>
            <p:custDataLst>
              <p:tags r:id="rId1"/>
            </p:custDataLst>
          </p:nvPr>
        </p:nvPicPr>
        <p:blipFill>
          <a:blip r:embed="rId4"/>
          <a:srcRect/>
          <a:stretch>
            <a:fillRect/>
          </a:stretch>
        </p:blipFill>
        <p:spPr>
          <a:xfrm>
            <a:off x="0" y="0"/>
            <a:ext cx="12192000" cy="6857999"/>
          </a:xfrm>
          <a:prstGeom prst="rect">
            <a:avLst/>
          </a:prstGeom>
        </p:spPr>
      </p:pic>
    </p:spTree>
    <p:extLst>
      <p:ext uri="{BB962C8B-B14F-4D97-AF65-F5344CB8AC3E}">
        <p14:creationId xmlns:p14="http://schemas.microsoft.com/office/powerpoint/2010/main" val="358427140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512208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FA363B5-694D-25A6-6552-B26F628852B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8" name="Object 7" hidden="1">
                        <a:extLst>
                          <a:ext uri="{FF2B5EF4-FFF2-40B4-BE49-F238E27FC236}">
                            <a16:creationId xmlns:a16="http://schemas.microsoft.com/office/drawing/2014/main" id="{5FA363B5-694D-25A6-6552-B26F628852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BC4B7A-3562-552F-464A-1BC9650B4292}"/>
              </a:ext>
            </a:extLst>
          </p:cNvPr>
          <p:cNvSpPr>
            <a:spLocks noGrp="1"/>
          </p:cNvSpPr>
          <p:nvPr>
            <p:ph type="title"/>
          </p:nvPr>
        </p:nvSpPr>
        <p:spPr>
          <a:xfrm>
            <a:off x="554736" y="197613"/>
            <a:ext cx="11082528" cy="369332"/>
          </a:xfrm>
        </p:spPr>
        <p:txBody>
          <a:bodyPr vert="horz"/>
          <a:lstStyle/>
          <a:p>
            <a:r>
              <a:rPr lang="en-GB" sz="2400" dirty="0"/>
              <a:t>Annex 1: Country codes</a:t>
            </a:r>
          </a:p>
        </p:txBody>
      </p:sp>
      <p:graphicFrame>
        <p:nvGraphicFramePr>
          <p:cNvPr id="5" name="Table 11">
            <a:extLst>
              <a:ext uri="{FF2B5EF4-FFF2-40B4-BE49-F238E27FC236}">
                <a16:creationId xmlns:a16="http://schemas.microsoft.com/office/drawing/2014/main" id="{87B0C562-D6F9-6FE8-AE36-5C2AEA7ADB2C}"/>
              </a:ext>
            </a:extLst>
          </p:cNvPr>
          <p:cNvGraphicFramePr>
            <a:graphicFrameLocks noGrp="1"/>
          </p:cNvGraphicFramePr>
          <p:nvPr/>
        </p:nvGraphicFramePr>
        <p:xfrm>
          <a:off x="554736" y="970278"/>
          <a:ext cx="2344328" cy="5268360"/>
        </p:xfrm>
        <a:graphic>
          <a:graphicData uri="http://schemas.openxmlformats.org/drawingml/2006/table">
            <a:tbl>
              <a:tblPr firstRow="1" bandRow="1">
                <a:tableStyleId>{2D5ABB26-0587-4C30-8999-92F81FD0307C}</a:tableStyleId>
              </a:tblPr>
              <a:tblGrid>
                <a:gridCol w="837646">
                  <a:extLst>
                    <a:ext uri="{9D8B030D-6E8A-4147-A177-3AD203B41FA5}">
                      <a16:colId xmlns:a16="http://schemas.microsoft.com/office/drawing/2014/main" val="3652347298"/>
                    </a:ext>
                  </a:extLst>
                </a:gridCol>
                <a:gridCol w="1506682">
                  <a:extLst>
                    <a:ext uri="{9D8B030D-6E8A-4147-A177-3AD203B41FA5}">
                      <a16:colId xmlns:a16="http://schemas.microsoft.com/office/drawing/2014/main" val="1733877350"/>
                    </a:ext>
                  </a:extLst>
                </a:gridCol>
              </a:tblGrid>
              <a:tr h="295292">
                <a:tc>
                  <a:txBody>
                    <a:bodyPr/>
                    <a:lstStyle/>
                    <a:p>
                      <a:r>
                        <a:rPr lang="en-GB" sz="1400" b="1" u="none" dirty="0"/>
                        <a:t>Code</a:t>
                      </a:r>
                    </a:p>
                  </a:txBody>
                  <a:tcPr marL="36000" marR="36000" marT="36000" marB="108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buFont typeface="Arial" panose="020B0604020202020204" pitchFamily="34" charset="0"/>
                        <a:buNone/>
                      </a:pPr>
                      <a:r>
                        <a:rPr lang="en-US" sz="1400" b="1" i="0" u="none" kern="1200" dirty="0">
                          <a:solidFill>
                            <a:schemeClr val="tx1"/>
                          </a:solidFill>
                          <a:effectLst/>
                          <a:latin typeface="+mn-lt"/>
                          <a:ea typeface="+mn-ea"/>
                          <a:cs typeface="+mn-cs"/>
                        </a:rPr>
                        <a:t>Country name</a:t>
                      </a:r>
                    </a:p>
                  </a:txBody>
                  <a:tcPr marL="36000" marR="36000" marT="36000" marB="108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37669411"/>
                  </a:ext>
                </a:extLst>
              </a:tr>
              <a:tr h="187121">
                <a:tc>
                  <a:txBody>
                    <a:bodyPr/>
                    <a:lstStyle/>
                    <a:p>
                      <a:pPr algn="l" fontAlgn="b"/>
                      <a:r>
                        <a:rPr lang="en-US" sz="1100" b="0" i="0" u="none" strike="noStrike" dirty="0">
                          <a:solidFill>
                            <a:srgbClr val="000000"/>
                          </a:solidFill>
                          <a:effectLst/>
                          <a:latin typeface="Calibri" panose="020F0502020204030204" pitchFamily="34" charset="0"/>
                        </a:rPr>
                        <a:t>AFG</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Afghanistan</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15364923"/>
                  </a:ext>
                </a:extLst>
              </a:tr>
              <a:tr h="187121">
                <a:tc>
                  <a:txBody>
                    <a:bodyPr/>
                    <a:lstStyle/>
                    <a:p>
                      <a:pPr algn="l" fontAlgn="b"/>
                      <a:r>
                        <a:rPr lang="en-US" sz="1100" b="0" i="0" u="none" strike="noStrike" dirty="0">
                          <a:solidFill>
                            <a:srgbClr val="000000"/>
                          </a:solidFill>
                          <a:effectLst/>
                          <a:latin typeface="Calibri" panose="020F0502020204030204" pitchFamily="34" charset="0"/>
                        </a:rPr>
                        <a:t>AGO</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Angol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03512146"/>
                  </a:ext>
                </a:extLst>
              </a:tr>
              <a:tr h="187121">
                <a:tc>
                  <a:txBody>
                    <a:bodyPr/>
                    <a:lstStyle/>
                    <a:p>
                      <a:pPr algn="l" fontAlgn="b"/>
                      <a:r>
                        <a:rPr lang="en-US" sz="1100" b="0" i="0" u="none" strike="noStrike" dirty="0">
                          <a:solidFill>
                            <a:srgbClr val="000000"/>
                          </a:solidFill>
                          <a:effectLst/>
                          <a:latin typeface="Calibri" panose="020F0502020204030204" pitchFamily="34" charset="0"/>
                        </a:rPr>
                        <a:t>BDI</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Burundi</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90159672"/>
                  </a:ext>
                </a:extLst>
              </a:tr>
              <a:tr h="187121">
                <a:tc>
                  <a:txBody>
                    <a:bodyPr/>
                    <a:lstStyle/>
                    <a:p>
                      <a:pPr algn="l" fontAlgn="b"/>
                      <a:r>
                        <a:rPr lang="en-US" sz="1100" b="0" i="0" u="none" strike="noStrike" dirty="0">
                          <a:solidFill>
                            <a:srgbClr val="000000"/>
                          </a:solidFill>
                          <a:effectLst/>
                          <a:latin typeface="Calibri" panose="020F0502020204030204" pitchFamily="34" charset="0"/>
                        </a:rPr>
                        <a:t>BEN</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Benin</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63613053"/>
                  </a:ext>
                </a:extLst>
              </a:tr>
              <a:tr h="187121">
                <a:tc>
                  <a:txBody>
                    <a:bodyPr/>
                    <a:lstStyle/>
                    <a:p>
                      <a:pPr algn="l" fontAlgn="b"/>
                      <a:r>
                        <a:rPr lang="en-US" sz="1100" b="0" i="0" u="none" strike="noStrike" dirty="0">
                          <a:solidFill>
                            <a:srgbClr val="000000"/>
                          </a:solidFill>
                          <a:effectLst/>
                          <a:latin typeface="Calibri" panose="020F0502020204030204" pitchFamily="34" charset="0"/>
                        </a:rPr>
                        <a:t>BF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Burkina Faso</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72345302"/>
                  </a:ext>
                </a:extLst>
              </a:tr>
              <a:tr h="187121">
                <a:tc>
                  <a:txBody>
                    <a:bodyPr/>
                    <a:lstStyle/>
                    <a:p>
                      <a:pPr algn="l" fontAlgn="b"/>
                      <a:r>
                        <a:rPr lang="en-US" sz="1100" b="0" i="0" u="none" strike="noStrike" dirty="0">
                          <a:solidFill>
                            <a:srgbClr val="000000"/>
                          </a:solidFill>
                          <a:effectLst/>
                          <a:latin typeface="Calibri" panose="020F0502020204030204" pitchFamily="34" charset="0"/>
                        </a:rPr>
                        <a:t>BGD</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Bangladesh</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45552932"/>
                  </a:ext>
                </a:extLst>
              </a:tr>
              <a:tr h="187121">
                <a:tc>
                  <a:txBody>
                    <a:bodyPr/>
                    <a:lstStyle/>
                    <a:p>
                      <a:pPr algn="l" fontAlgn="b"/>
                      <a:r>
                        <a:rPr lang="en-US" sz="1100" b="0" i="0" u="none" strike="noStrike" dirty="0">
                          <a:solidFill>
                            <a:srgbClr val="000000"/>
                          </a:solidFill>
                          <a:effectLst/>
                          <a:latin typeface="Calibri" panose="020F0502020204030204" pitchFamily="34" charset="0"/>
                        </a:rPr>
                        <a:t>BOL</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Bolivi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93227765"/>
                  </a:ext>
                </a:extLst>
              </a:tr>
              <a:tr h="187121">
                <a:tc>
                  <a:txBody>
                    <a:bodyPr/>
                    <a:lstStyle/>
                    <a:p>
                      <a:pPr algn="l" fontAlgn="b"/>
                      <a:r>
                        <a:rPr lang="en-US" sz="1100" b="0" i="0" u="none" strike="noStrike" dirty="0">
                          <a:solidFill>
                            <a:srgbClr val="000000"/>
                          </a:solidFill>
                          <a:effectLst/>
                          <a:latin typeface="Calibri" panose="020F0502020204030204" pitchFamily="34" charset="0"/>
                        </a:rPr>
                        <a:t>BTN</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Bhutan</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54885963"/>
                  </a:ext>
                </a:extLst>
              </a:tr>
              <a:tr h="187121">
                <a:tc>
                  <a:txBody>
                    <a:bodyPr/>
                    <a:lstStyle/>
                    <a:p>
                      <a:pPr algn="l" fontAlgn="b"/>
                      <a:r>
                        <a:rPr lang="en-US" sz="1100" b="0" i="0" u="none" strike="noStrike" dirty="0">
                          <a:solidFill>
                            <a:srgbClr val="000000"/>
                          </a:solidFill>
                          <a:effectLst/>
                          <a:latin typeface="Calibri" panose="020F0502020204030204" pitchFamily="34" charset="0"/>
                        </a:rPr>
                        <a:t>CAF</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CAR</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19258092"/>
                  </a:ext>
                </a:extLst>
              </a:tr>
              <a:tr h="187121">
                <a:tc>
                  <a:txBody>
                    <a:bodyPr/>
                    <a:lstStyle/>
                    <a:p>
                      <a:pPr algn="l" fontAlgn="b"/>
                      <a:r>
                        <a:rPr lang="en-US" sz="1100" b="0" i="0" u="none" strike="noStrike" dirty="0">
                          <a:solidFill>
                            <a:srgbClr val="000000"/>
                          </a:solidFill>
                          <a:effectLst/>
                          <a:latin typeface="Calibri" panose="020F0502020204030204" pitchFamily="34" charset="0"/>
                        </a:rPr>
                        <a:t>CIV</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Côte d'Ivoire</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03683867"/>
                  </a:ext>
                </a:extLst>
              </a:tr>
              <a:tr h="187121">
                <a:tc>
                  <a:txBody>
                    <a:bodyPr/>
                    <a:lstStyle/>
                    <a:p>
                      <a:pPr algn="l" fontAlgn="b"/>
                      <a:r>
                        <a:rPr lang="en-US" sz="1100" b="0" i="0" u="none" strike="noStrike" dirty="0">
                          <a:solidFill>
                            <a:srgbClr val="000000"/>
                          </a:solidFill>
                          <a:effectLst/>
                          <a:latin typeface="Calibri" panose="020F0502020204030204" pitchFamily="34" charset="0"/>
                        </a:rPr>
                        <a:t>CMR</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Cameroon</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51459235"/>
                  </a:ext>
                </a:extLst>
              </a:tr>
              <a:tr h="187121">
                <a:tc>
                  <a:txBody>
                    <a:bodyPr/>
                    <a:lstStyle/>
                    <a:p>
                      <a:pPr algn="l" fontAlgn="b"/>
                      <a:r>
                        <a:rPr lang="en-US" sz="1100" b="0" i="0" u="none" strike="noStrike" dirty="0">
                          <a:solidFill>
                            <a:srgbClr val="000000"/>
                          </a:solidFill>
                          <a:effectLst/>
                          <a:latin typeface="Calibri" panose="020F0502020204030204" pitchFamily="34" charset="0"/>
                        </a:rPr>
                        <a:t>COD</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DRCongo</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2467682"/>
                  </a:ext>
                </a:extLst>
              </a:tr>
              <a:tr h="187121">
                <a:tc>
                  <a:txBody>
                    <a:bodyPr/>
                    <a:lstStyle/>
                    <a:p>
                      <a:pPr algn="l" fontAlgn="b"/>
                      <a:r>
                        <a:rPr lang="en-US" sz="1100" b="0" i="0" u="none" strike="noStrike" dirty="0">
                          <a:solidFill>
                            <a:srgbClr val="000000"/>
                          </a:solidFill>
                          <a:effectLst/>
                          <a:latin typeface="Calibri" panose="020F0502020204030204" pitchFamily="34" charset="0"/>
                        </a:rPr>
                        <a:t>COG</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Congo</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29332358"/>
                  </a:ext>
                </a:extLst>
              </a:tr>
              <a:tr h="187121">
                <a:tc>
                  <a:txBody>
                    <a:bodyPr/>
                    <a:lstStyle/>
                    <a:p>
                      <a:pPr algn="l" fontAlgn="b"/>
                      <a:r>
                        <a:rPr lang="en-US" sz="1100" b="0" i="0" u="none" strike="noStrike" dirty="0">
                          <a:solidFill>
                            <a:srgbClr val="000000"/>
                          </a:solidFill>
                          <a:effectLst/>
                          <a:latin typeface="Calibri" panose="020F0502020204030204" pitchFamily="34" charset="0"/>
                        </a:rPr>
                        <a:t>COM</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Comoros</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84812935"/>
                  </a:ext>
                </a:extLst>
              </a:tr>
              <a:tr h="187121">
                <a:tc>
                  <a:txBody>
                    <a:bodyPr/>
                    <a:lstStyle/>
                    <a:p>
                      <a:pPr algn="l" fontAlgn="b"/>
                      <a:r>
                        <a:rPr lang="en-US" sz="1100" b="0" i="0" u="none" strike="noStrike" dirty="0">
                          <a:solidFill>
                            <a:srgbClr val="000000"/>
                          </a:solidFill>
                          <a:effectLst/>
                          <a:latin typeface="Calibri" panose="020F0502020204030204" pitchFamily="34" charset="0"/>
                        </a:rPr>
                        <a:t>CPV</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Cabo Verde</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66789183"/>
                  </a:ext>
                </a:extLst>
              </a:tr>
              <a:tr h="187121">
                <a:tc>
                  <a:txBody>
                    <a:bodyPr/>
                    <a:lstStyle/>
                    <a:p>
                      <a:pPr algn="l" fontAlgn="b"/>
                      <a:r>
                        <a:rPr lang="en-US" sz="1100" b="0" i="0" u="none" strike="noStrike" dirty="0">
                          <a:solidFill>
                            <a:srgbClr val="000000"/>
                          </a:solidFill>
                          <a:effectLst/>
                          <a:latin typeface="Calibri" panose="020F0502020204030204" pitchFamily="34" charset="0"/>
                        </a:rPr>
                        <a:t>DJI</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Djibouti</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76748943"/>
                  </a:ext>
                </a:extLst>
              </a:tr>
              <a:tr h="187121">
                <a:tc>
                  <a:txBody>
                    <a:bodyPr/>
                    <a:lstStyle/>
                    <a:p>
                      <a:pPr algn="l" fontAlgn="b"/>
                      <a:r>
                        <a:rPr lang="en-US" sz="1100" b="0" i="0" u="none" strike="noStrike" dirty="0">
                          <a:solidFill>
                            <a:srgbClr val="000000"/>
                          </a:solidFill>
                          <a:effectLst/>
                          <a:latin typeface="Calibri" panose="020F0502020204030204" pitchFamily="34" charset="0"/>
                        </a:rPr>
                        <a:t>DM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Dominic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54772511"/>
                  </a:ext>
                </a:extLst>
              </a:tr>
              <a:tr h="187121">
                <a:tc>
                  <a:txBody>
                    <a:bodyPr/>
                    <a:lstStyle/>
                    <a:p>
                      <a:pPr algn="l" fontAlgn="b"/>
                      <a:r>
                        <a:rPr lang="en-US" sz="1100" b="0" i="0" u="none" strike="noStrike" dirty="0">
                          <a:solidFill>
                            <a:srgbClr val="000000"/>
                          </a:solidFill>
                          <a:effectLst/>
                          <a:latin typeface="Calibri" panose="020F0502020204030204" pitchFamily="34" charset="0"/>
                        </a:rPr>
                        <a:t>DZ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Algeri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67739263"/>
                  </a:ext>
                </a:extLst>
              </a:tr>
              <a:tr h="187121">
                <a:tc>
                  <a:txBody>
                    <a:bodyPr/>
                    <a:lstStyle/>
                    <a:p>
                      <a:pPr algn="l" fontAlgn="b"/>
                      <a:r>
                        <a:rPr lang="en-US" sz="1100" b="0" i="0" u="none" strike="noStrike" dirty="0">
                          <a:solidFill>
                            <a:srgbClr val="000000"/>
                          </a:solidFill>
                          <a:effectLst/>
                          <a:latin typeface="Calibri" panose="020F0502020204030204" pitchFamily="34" charset="0"/>
                        </a:rPr>
                        <a:t>EGY</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Egypt</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57415700"/>
                  </a:ext>
                </a:extLst>
              </a:tr>
              <a:tr h="187121">
                <a:tc>
                  <a:txBody>
                    <a:bodyPr/>
                    <a:lstStyle/>
                    <a:p>
                      <a:pPr algn="l" fontAlgn="b"/>
                      <a:r>
                        <a:rPr lang="en-US" sz="1100" b="0" i="0" u="none" strike="noStrike" dirty="0">
                          <a:solidFill>
                            <a:srgbClr val="000000"/>
                          </a:solidFill>
                          <a:effectLst/>
                          <a:latin typeface="Calibri" panose="020F0502020204030204" pitchFamily="34" charset="0"/>
                        </a:rPr>
                        <a:t>ERI</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Eritre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45514761"/>
                  </a:ext>
                </a:extLst>
              </a:tr>
              <a:tr h="187121">
                <a:tc>
                  <a:txBody>
                    <a:bodyPr/>
                    <a:lstStyle/>
                    <a:p>
                      <a:pPr algn="l" fontAlgn="b"/>
                      <a:r>
                        <a:rPr lang="en-US" sz="1100" b="0" i="0" u="none" strike="noStrike" dirty="0">
                          <a:solidFill>
                            <a:srgbClr val="000000"/>
                          </a:solidFill>
                          <a:effectLst/>
                          <a:latin typeface="Calibri" panose="020F0502020204030204" pitchFamily="34" charset="0"/>
                        </a:rPr>
                        <a:t>ETH</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Ethiopi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75756680"/>
                  </a:ext>
                </a:extLst>
              </a:tr>
              <a:tr h="187121">
                <a:tc>
                  <a:txBody>
                    <a:bodyPr/>
                    <a:lstStyle/>
                    <a:p>
                      <a:pPr algn="l" fontAlgn="b"/>
                      <a:r>
                        <a:rPr lang="en-US" sz="1100" b="0" i="0" u="none" strike="noStrike" dirty="0">
                          <a:solidFill>
                            <a:srgbClr val="000000"/>
                          </a:solidFill>
                          <a:effectLst/>
                          <a:latin typeface="Calibri" panose="020F0502020204030204" pitchFamily="34" charset="0"/>
                        </a:rPr>
                        <a:t>FJI</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Fiji</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14050537"/>
                  </a:ext>
                </a:extLst>
              </a:tr>
              <a:tr h="187121">
                <a:tc>
                  <a:txBody>
                    <a:bodyPr/>
                    <a:lstStyle/>
                    <a:p>
                      <a:pPr algn="l" fontAlgn="b"/>
                      <a:r>
                        <a:rPr lang="en-US" sz="1100" b="0" i="0" u="none" strike="noStrike" dirty="0">
                          <a:solidFill>
                            <a:srgbClr val="000000"/>
                          </a:solidFill>
                          <a:effectLst/>
                          <a:latin typeface="Calibri" panose="020F0502020204030204" pitchFamily="34" charset="0"/>
                        </a:rPr>
                        <a:t>FSM</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Micronesi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89508978"/>
                  </a:ext>
                </a:extLst>
              </a:tr>
              <a:tr h="187121">
                <a:tc>
                  <a:txBody>
                    <a:bodyPr/>
                    <a:lstStyle/>
                    <a:p>
                      <a:pPr algn="l" fontAlgn="b"/>
                      <a:r>
                        <a:rPr lang="en-US" sz="1100" b="0" i="0" u="none" strike="noStrike">
                          <a:solidFill>
                            <a:srgbClr val="000000"/>
                          </a:solidFill>
                          <a:effectLst/>
                          <a:latin typeface="Calibri" panose="020F0502020204030204" pitchFamily="34" charset="0"/>
                        </a:rPr>
                        <a:t>GH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Ghan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73514737"/>
                  </a:ext>
                </a:extLst>
              </a:tr>
              <a:tr h="187121">
                <a:tc>
                  <a:txBody>
                    <a:bodyPr/>
                    <a:lstStyle/>
                    <a:p>
                      <a:pPr algn="l" fontAlgn="b"/>
                      <a:r>
                        <a:rPr lang="en-US" sz="1100" b="0" i="0" u="none" strike="noStrike">
                          <a:solidFill>
                            <a:srgbClr val="000000"/>
                          </a:solidFill>
                          <a:effectLst/>
                          <a:latin typeface="Calibri" panose="020F0502020204030204" pitchFamily="34" charset="0"/>
                        </a:rPr>
                        <a:t>GIN</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Guine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75297233"/>
                  </a:ext>
                </a:extLst>
              </a:tr>
            </a:tbl>
          </a:graphicData>
        </a:graphic>
      </p:graphicFrame>
      <p:graphicFrame>
        <p:nvGraphicFramePr>
          <p:cNvPr id="11" name="Table 11">
            <a:extLst>
              <a:ext uri="{FF2B5EF4-FFF2-40B4-BE49-F238E27FC236}">
                <a16:creationId xmlns:a16="http://schemas.microsoft.com/office/drawing/2014/main" id="{1D81319C-0005-6D27-9DF0-C9B1553A9BDD}"/>
              </a:ext>
            </a:extLst>
          </p:cNvPr>
          <p:cNvGraphicFramePr>
            <a:graphicFrameLocks noGrp="1"/>
          </p:cNvGraphicFramePr>
          <p:nvPr/>
        </p:nvGraphicFramePr>
        <p:xfrm>
          <a:off x="3467469" y="963928"/>
          <a:ext cx="2344328" cy="5268360"/>
        </p:xfrm>
        <a:graphic>
          <a:graphicData uri="http://schemas.openxmlformats.org/drawingml/2006/table">
            <a:tbl>
              <a:tblPr firstRow="1" bandRow="1">
                <a:tableStyleId>{2D5ABB26-0587-4C30-8999-92F81FD0307C}</a:tableStyleId>
              </a:tblPr>
              <a:tblGrid>
                <a:gridCol w="837646">
                  <a:extLst>
                    <a:ext uri="{9D8B030D-6E8A-4147-A177-3AD203B41FA5}">
                      <a16:colId xmlns:a16="http://schemas.microsoft.com/office/drawing/2014/main" val="3652347298"/>
                    </a:ext>
                  </a:extLst>
                </a:gridCol>
                <a:gridCol w="1506682">
                  <a:extLst>
                    <a:ext uri="{9D8B030D-6E8A-4147-A177-3AD203B41FA5}">
                      <a16:colId xmlns:a16="http://schemas.microsoft.com/office/drawing/2014/main" val="1733877350"/>
                    </a:ext>
                  </a:extLst>
                </a:gridCol>
              </a:tblGrid>
              <a:tr h="316854">
                <a:tc>
                  <a:txBody>
                    <a:bodyPr/>
                    <a:lstStyle/>
                    <a:p>
                      <a:r>
                        <a:rPr lang="en-GB" sz="1400" b="1" u="none" dirty="0"/>
                        <a:t>Code</a:t>
                      </a:r>
                    </a:p>
                  </a:txBody>
                  <a:tcPr marL="36000" marR="36000" marT="36000" marB="108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buFont typeface="Arial" panose="020B0604020202020204" pitchFamily="34" charset="0"/>
                        <a:buNone/>
                      </a:pPr>
                      <a:r>
                        <a:rPr lang="en-US" sz="1400" b="1" i="0" u="none" kern="1200" dirty="0">
                          <a:solidFill>
                            <a:schemeClr val="tx1"/>
                          </a:solidFill>
                          <a:effectLst/>
                          <a:latin typeface="+mn-lt"/>
                          <a:ea typeface="+mn-ea"/>
                          <a:cs typeface="+mn-cs"/>
                        </a:rPr>
                        <a:t>Country name</a:t>
                      </a:r>
                    </a:p>
                  </a:txBody>
                  <a:tcPr marL="36000" marR="36000" marT="36000" marB="108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37669411"/>
                  </a:ext>
                </a:extLst>
              </a:tr>
              <a:tr h="180558">
                <a:tc>
                  <a:txBody>
                    <a:bodyPr/>
                    <a:lstStyle/>
                    <a:p>
                      <a:pPr algn="l" fontAlgn="b"/>
                      <a:r>
                        <a:rPr lang="en-US" sz="1100" b="0" i="0" u="none" strike="noStrike" dirty="0">
                          <a:solidFill>
                            <a:srgbClr val="000000"/>
                          </a:solidFill>
                          <a:effectLst/>
                          <a:latin typeface="Calibri" panose="020F0502020204030204" pitchFamily="34" charset="0"/>
                        </a:rPr>
                        <a:t>GMB</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Gambi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15364923"/>
                  </a:ext>
                </a:extLst>
              </a:tr>
              <a:tr h="180558">
                <a:tc>
                  <a:txBody>
                    <a:bodyPr/>
                    <a:lstStyle/>
                    <a:p>
                      <a:pPr algn="l" fontAlgn="b"/>
                      <a:r>
                        <a:rPr lang="en-US" sz="1100" b="0" i="0" u="none" strike="noStrike" dirty="0">
                          <a:solidFill>
                            <a:srgbClr val="000000"/>
                          </a:solidFill>
                          <a:effectLst/>
                          <a:latin typeface="Calibri" panose="020F0502020204030204" pitchFamily="34" charset="0"/>
                        </a:rPr>
                        <a:t>GNB</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Guinea-Bissau</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03512146"/>
                  </a:ext>
                </a:extLst>
              </a:tr>
              <a:tr h="180558">
                <a:tc>
                  <a:txBody>
                    <a:bodyPr/>
                    <a:lstStyle/>
                    <a:p>
                      <a:pPr algn="l" fontAlgn="b"/>
                      <a:r>
                        <a:rPr lang="en-US" sz="1100" b="0" i="0" u="none" strike="noStrike" dirty="0">
                          <a:solidFill>
                            <a:srgbClr val="000000"/>
                          </a:solidFill>
                          <a:effectLst/>
                          <a:latin typeface="Calibri" panose="020F0502020204030204" pitchFamily="34" charset="0"/>
                        </a:rPr>
                        <a:t>GRD</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Grenad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90159672"/>
                  </a:ext>
                </a:extLst>
              </a:tr>
              <a:tr h="180558">
                <a:tc>
                  <a:txBody>
                    <a:bodyPr/>
                    <a:lstStyle/>
                    <a:p>
                      <a:pPr algn="l" fontAlgn="b"/>
                      <a:r>
                        <a:rPr lang="en-US" sz="1100" b="0" i="0" u="none" strike="noStrike" dirty="0">
                          <a:solidFill>
                            <a:srgbClr val="000000"/>
                          </a:solidFill>
                          <a:effectLst/>
                          <a:latin typeface="Calibri" panose="020F0502020204030204" pitchFamily="34" charset="0"/>
                        </a:rPr>
                        <a:t>GUY</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Guyan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63613053"/>
                  </a:ext>
                </a:extLst>
              </a:tr>
              <a:tr h="180558">
                <a:tc>
                  <a:txBody>
                    <a:bodyPr/>
                    <a:lstStyle/>
                    <a:p>
                      <a:pPr algn="l" fontAlgn="b"/>
                      <a:r>
                        <a:rPr lang="en-US" sz="1100" b="0" i="0" u="none" strike="noStrike" dirty="0">
                          <a:solidFill>
                            <a:srgbClr val="000000"/>
                          </a:solidFill>
                          <a:effectLst/>
                          <a:latin typeface="Calibri" panose="020F0502020204030204" pitchFamily="34" charset="0"/>
                        </a:rPr>
                        <a:t>HND</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Honduras</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72345302"/>
                  </a:ext>
                </a:extLst>
              </a:tr>
              <a:tr h="180558">
                <a:tc>
                  <a:txBody>
                    <a:bodyPr/>
                    <a:lstStyle/>
                    <a:p>
                      <a:pPr algn="l" fontAlgn="b"/>
                      <a:r>
                        <a:rPr lang="en-US" sz="1100" b="0" i="0" u="none" strike="noStrike" dirty="0">
                          <a:solidFill>
                            <a:srgbClr val="000000"/>
                          </a:solidFill>
                          <a:effectLst/>
                          <a:latin typeface="Calibri" panose="020F0502020204030204" pitchFamily="34" charset="0"/>
                        </a:rPr>
                        <a:t>HTI</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Haiti</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45552932"/>
                  </a:ext>
                </a:extLst>
              </a:tr>
              <a:tr h="174174">
                <a:tc>
                  <a:txBody>
                    <a:bodyPr/>
                    <a:lstStyle/>
                    <a:p>
                      <a:pPr algn="l" fontAlgn="b"/>
                      <a:r>
                        <a:rPr lang="en-US" sz="1100" b="0" i="0" u="none" strike="noStrike" dirty="0">
                          <a:solidFill>
                            <a:srgbClr val="000000"/>
                          </a:solidFill>
                          <a:effectLst/>
                          <a:latin typeface="Calibri" panose="020F0502020204030204" pitchFamily="34" charset="0"/>
                        </a:rPr>
                        <a:t>IDN</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Indonesi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93227765"/>
                  </a:ext>
                </a:extLst>
              </a:tr>
              <a:tr h="174174">
                <a:tc>
                  <a:txBody>
                    <a:bodyPr/>
                    <a:lstStyle/>
                    <a:p>
                      <a:pPr algn="l" fontAlgn="b"/>
                      <a:r>
                        <a:rPr lang="en-US" sz="1100" b="0" i="0" u="none" strike="noStrike" dirty="0">
                          <a:solidFill>
                            <a:srgbClr val="000000"/>
                          </a:solidFill>
                          <a:effectLst/>
                          <a:latin typeface="Calibri" panose="020F0502020204030204" pitchFamily="34" charset="0"/>
                        </a:rPr>
                        <a:t>IND</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Indi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54885963"/>
                  </a:ext>
                </a:extLst>
              </a:tr>
              <a:tr h="174174">
                <a:tc>
                  <a:txBody>
                    <a:bodyPr/>
                    <a:lstStyle/>
                    <a:p>
                      <a:pPr algn="l" fontAlgn="b"/>
                      <a:r>
                        <a:rPr lang="en-US" sz="1100" b="0" i="0" u="none" strike="noStrike" dirty="0">
                          <a:solidFill>
                            <a:srgbClr val="000000"/>
                          </a:solidFill>
                          <a:effectLst/>
                          <a:latin typeface="Calibri" panose="020F0502020204030204" pitchFamily="34" charset="0"/>
                        </a:rPr>
                        <a:t>KEN</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Keny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19258092"/>
                  </a:ext>
                </a:extLst>
              </a:tr>
              <a:tr h="174174">
                <a:tc>
                  <a:txBody>
                    <a:bodyPr/>
                    <a:lstStyle/>
                    <a:p>
                      <a:pPr algn="l" fontAlgn="b"/>
                      <a:r>
                        <a:rPr lang="en-US" sz="1100" b="0" i="0" u="none" strike="noStrike" dirty="0">
                          <a:solidFill>
                            <a:srgbClr val="000000"/>
                          </a:solidFill>
                          <a:effectLst/>
                          <a:latin typeface="Calibri" panose="020F0502020204030204" pitchFamily="34" charset="0"/>
                        </a:rPr>
                        <a:t>KGZ</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Kyrgyzstan</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03683867"/>
                  </a:ext>
                </a:extLst>
              </a:tr>
              <a:tr h="174174">
                <a:tc>
                  <a:txBody>
                    <a:bodyPr/>
                    <a:lstStyle/>
                    <a:p>
                      <a:pPr algn="l" fontAlgn="b"/>
                      <a:r>
                        <a:rPr lang="en-US" sz="1100" b="0" i="0" u="none" strike="noStrike" dirty="0">
                          <a:solidFill>
                            <a:srgbClr val="000000"/>
                          </a:solidFill>
                          <a:effectLst/>
                          <a:latin typeface="Calibri" panose="020F0502020204030204" pitchFamily="34" charset="0"/>
                        </a:rPr>
                        <a:t>KHM</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Cambodi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51459235"/>
                  </a:ext>
                </a:extLst>
              </a:tr>
              <a:tr h="174174">
                <a:tc>
                  <a:txBody>
                    <a:bodyPr/>
                    <a:lstStyle/>
                    <a:p>
                      <a:pPr algn="l" fontAlgn="b"/>
                      <a:r>
                        <a:rPr lang="en-US" sz="1100" b="0" i="0" u="none" strike="noStrike" dirty="0">
                          <a:solidFill>
                            <a:srgbClr val="000000"/>
                          </a:solidFill>
                          <a:effectLst/>
                          <a:latin typeface="Calibri" panose="020F0502020204030204" pitchFamily="34" charset="0"/>
                        </a:rPr>
                        <a:t>KIR</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Kiribati</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2467682"/>
                  </a:ext>
                </a:extLst>
              </a:tr>
              <a:tr h="174174">
                <a:tc>
                  <a:txBody>
                    <a:bodyPr/>
                    <a:lstStyle/>
                    <a:p>
                      <a:pPr algn="l" fontAlgn="b"/>
                      <a:r>
                        <a:rPr lang="en-US" sz="1100" b="0" i="0" u="none" strike="noStrike" dirty="0">
                          <a:solidFill>
                            <a:srgbClr val="000000"/>
                          </a:solidFill>
                          <a:effectLst/>
                          <a:latin typeface="Calibri" panose="020F0502020204030204" pitchFamily="34" charset="0"/>
                        </a:rPr>
                        <a:t>LAO</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Laos</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29332358"/>
                  </a:ext>
                </a:extLst>
              </a:tr>
              <a:tr h="174174">
                <a:tc>
                  <a:txBody>
                    <a:bodyPr/>
                    <a:lstStyle/>
                    <a:p>
                      <a:pPr algn="l" fontAlgn="b"/>
                      <a:r>
                        <a:rPr lang="en-US" sz="1100" b="0" i="0" u="none" strike="noStrike" dirty="0">
                          <a:solidFill>
                            <a:srgbClr val="000000"/>
                          </a:solidFill>
                          <a:effectLst/>
                          <a:latin typeface="Calibri" panose="020F0502020204030204" pitchFamily="34" charset="0"/>
                        </a:rPr>
                        <a:t>LBR</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Liberi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84812935"/>
                  </a:ext>
                </a:extLst>
              </a:tr>
              <a:tr h="174174">
                <a:tc>
                  <a:txBody>
                    <a:bodyPr/>
                    <a:lstStyle/>
                    <a:p>
                      <a:pPr algn="l" fontAlgn="b"/>
                      <a:r>
                        <a:rPr lang="en-US" sz="1100" b="0" i="0" u="none" strike="noStrike" dirty="0">
                          <a:solidFill>
                            <a:srgbClr val="000000"/>
                          </a:solidFill>
                          <a:effectLst/>
                          <a:latin typeface="Calibri" panose="020F0502020204030204" pitchFamily="34" charset="0"/>
                        </a:rPr>
                        <a:t>LC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Saint Luci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66789183"/>
                  </a:ext>
                </a:extLst>
              </a:tr>
              <a:tr h="174174">
                <a:tc>
                  <a:txBody>
                    <a:bodyPr/>
                    <a:lstStyle/>
                    <a:p>
                      <a:pPr algn="l" fontAlgn="b"/>
                      <a:r>
                        <a:rPr lang="en-US" sz="1100" b="0" i="0" u="none" strike="noStrike" dirty="0">
                          <a:solidFill>
                            <a:srgbClr val="000000"/>
                          </a:solidFill>
                          <a:effectLst/>
                          <a:latin typeface="Calibri" panose="020F0502020204030204" pitchFamily="34" charset="0"/>
                        </a:rPr>
                        <a:t>LK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Sri Lank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76748943"/>
                  </a:ext>
                </a:extLst>
              </a:tr>
              <a:tr h="174174">
                <a:tc>
                  <a:txBody>
                    <a:bodyPr/>
                    <a:lstStyle/>
                    <a:p>
                      <a:pPr algn="l" fontAlgn="b"/>
                      <a:r>
                        <a:rPr lang="en-US" sz="1100" b="0" i="0" u="none" strike="noStrike" dirty="0">
                          <a:solidFill>
                            <a:srgbClr val="000000"/>
                          </a:solidFill>
                          <a:effectLst/>
                          <a:latin typeface="Calibri" panose="020F0502020204030204" pitchFamily="34" charset="0"/>
                        </a:rPr>
                        <a:t>LSO</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Lesotho</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54772511"/>
                  </a:ext>
                </a:extLst>
              </a:tr>
              <a:tr h="174174">
                <a:tc>
                  <a:txBody>
                    <a:bodyPr/>
                    <a:lstStyle/>
                    <a:p>
                      <a:pPr algn="l" fontAlgn="b"/>
                      <a:r>
                        <a:rPr lang="en-US" sz="1100" b="0" i="0" u="none" strike="noStrike" dirty="0">
                          <a:solidFill>
                            <a:srgbClr val="000000"/>
                          </a:solidFill>
                          <a:effectLst/>
                          <a:latin typeface="Calibri" panose="020F0502020204030204" pitchFamily="34" charset="0"/>
                        </a:rPr>
                        <a:t>MAR</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Morocco</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67739263"/>
                  </a:ext>
                </a:extLst>
              </a:tr>
              <a:tr h="174174">
                <a:tc>
                  <a:txBody>
                    <a:bodyPr/>
                    <a:lstStyle/>
                    <a:p>
                      <a:pPr algn="l" fontAlgn="b"/>
                      <a:r>
                        <a:rPr lang="en-US" sz="1100" b="0" i="0" u="none" strike="noStrike" dirty="0">
                          <a:solidFill>
                            <a:srgbClr val="000000"/>
                          </a:solidFill>
                          <a:effectLst/>
                          <a:latin typeface="Calibri" panose="020F0502020204030204" pitchFamily="34" charset="0"/>
                        </a:rPr>
                        <a:t>MD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Republic of Moldov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57415700"/>
                  </a:ext>
                </a:extLst>
              </a:tr>
              <a:tr h="174174">
                <a:tc>
                  <a:txBody>
                    <a:bodyPr/>
                    <a:lstStyle/>
                    <a:p>
                      <a:pPr algn="l" fontAlgn="b"/>
                      <a:r>
                        <a:rPr lang="en-US" sz="1100" b="0" i="0" u="none" strike="noStrike" dirty="0">
                          <a:solidFill>
                            <a:srgbClr val="000000"/>
                          </a:solidFill>
                          <a:effectLst/>
                          <a:latin typeface="Calibri" panose="020F0502020204030204" pitchFamily="34" charset="0"/>
                        </a:rPr>
                        <a:t>MDG</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Madagascar</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45514761"/>
                  </a:ext>
                </a:extLst>
              </a:tr>
              <a:tr h="174174">
                <a:tc>
                  <a:txBody>
                    <a:bodyPr/>
                    <a:lstStyle/>
                    <a:p>
                      <a:pPr algn="l" fontAlgn="b"/>
                      <a:r>
                        <a:rPr lang="en-US" sz="1100" b="0" i="0" u="none" strike="noStrike" dirty="0">
                          <a:solidFill>
                            <a:srgbClr val="000000"/>
                          </a:solidFill>
                          <a:effectLst/>
                          <a:latin typeface="Calibri" panose="020F0502020204030204" pitchFamily="34" charset="0"/>
                        </a:rPr>
                        <a:t>MDV</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Maldives</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75756680"/>
                  </a:ext>
                </a:extLst>
              </a:tr>
              <a:tr h="174174">
                <a:tc>
                  <a:txBody>
                    <a:bodyPr/>
                    <a:lstStyle/>
                    <a:p>
                      <a:pPr algn="l" fontAlgn="b"/>
                      <a:r>
                        <a:rPr lang="en-US" sz="1100" b="0" i="0" u="none" strike="noStrike" dirty="0">
                          <a:solidFill>
                            <a:srgbClr val="000000"/>
                          </a:solidFill>
                          <a:effectLst/>
                          <a:latin typeface="Calibri" panose="020F0502020204030204" pitchFamily="34" charset="0"/>
                        </a:rPr>
                        <a:t>MHL</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Marshall Islands</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14050537"/>
                  </a:ext>
                </a:extLst>
              </a:tr>
              <a:tr h="174174">
                <a:tc>
                  <a:txBody>
                    <a:bodyPr/>
                    <a:lstStyle/>
                    <a:p>
                      <a:pPr algn="l" fontAlgn="b"/>
                      <a:r>
                        <a:rPr lang="en-US" sz="1100" b="0" i="0" u="none" strike="noStrike" dirty="0">
                          <a:solidFill>
                            <a:srgbClr val="000000"/>
                          </a:solidFill>
                          <a:effectLst/>
                          <a:latin typeface="Calibri" panose="020F0502020204030204" pitchFamily="34" charset="0"/>
                        </a:rPr>
                        <a:t>MLI</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Mali</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89508978"/>
                  </a:ext>
                </a:extLst>
              </a:tr>
              <a:tr h="174174">
                <a:tc>
                  <a:txBody>
                    <a:bodyPr/>
                    <a:lstStyle/>
                    <a:p>
                      <a:pPr algn="l" fontAlgn="b"/>
                      <a:r>
                        <a:rPr lang="en-US" sz="1100" b="0" i="0" u="none" strike="noStrike" dirty="0">
                          <a:solidFill>
                            <a:srgbClr val="000000"/>
                          </a:solidFill>
                          <a:effectLst/>
                          <a:latin typeface="Calibri" panose="020F0502020204030204" pitchFamily="34" charset="0"/>
                        </a:rPr>
                        <a:t>MMR</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Myanmar</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73514737"/>
                  </a:ext>
                </a:extLst>
              </a:tr>
              <a:tr h="174174">
                <a:tc>
                  <a:txBody>
                    <a:bodyPr/>
                    <a:lstStyle/>
                    <a:p>
                      <a:pPr algn="l" fontAlgn="b"/>
                      <a:r>
                        <a:rPr lang="en-US" sz="1100" b="0" i="0" u="none" strike="noStrike" dirty="0">
                          <a:solidFill>
                            <a:srgbClr val="000000"/>
                          </a:solidFill>
                          <a:effectLst/>
                          <a:latin typeface="Calibri" panose="020F0502020204030204" pitchFamily="34" charset="0"/>
                        </a:rPr>
                        <a:t>MNG</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Mongoli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75297233"/>
                  </a:ext>
                </a:extLst>
              </a:tr>
            </a:tbl>
          </a:graphicData>
        </a:graphic>
      </p:graphicFrame>
      <p:graphicFrame>
        <p:nvGraphicFramePr>
          <p:cNvPr id="16" name="Table 11">
            <a:extLst>
              <a:ext uri="{FF2B5EF4-FFF2-40B4-BE49-F238E27FC236}">
                <a16:creationId xmlns:a16="http://schemas.microsoft.com/office/drawing/2014/main" id="{AEAA48E7-3641-910C-BF56-0859B98C6D9B}"/>
              </a:ext>
            </a:extLst>
          </p:cNvPr>
          <p:cNvGraphicFramePr>
            <a:graphicFrameLocks noGrp="1"/>
          </p:cNvGraphicFramePr>
          <p:nvPr/>
        </p:nvGraphicFramePr>
        <p:xfrm>
          <a:off x="6380202" y="963928"/>
          <a:ext cx="2344328" cy="5268360"/>
        </p:xfrm>
        <a:graphic>
          <a:graphicData uri="http://schemas.openxmlformats.org/drawingml/2006/table">
            <a:tbl>
              <a:tblPr firstRow="1" bandRow="1">
                <a:tableStyleId>{2D5ABB26-0587-4C30-8999-92F81FD0307C}</a:tableStyleId>
              </a:tblPr>
              <a:tblGrid>
                <a:gridCol w="837646">
                  <a:extLst>
                    <a:ext uri="{9D8B030D-6E8A-4147-A177-3AD203B41FA5}">
                      <a16:colId xmlns:a16="http://schemas.microsoft.com/office/drawing/2014/main" val="3652347298"/>
                    </a:ext>
                  </a:extLst>
                </a:gridCol>
                <a:gridCol w="1506682">
                  <a:extLst>
                    <a:ext uri="{9D8B030D-6E8A-4147-A177-3AD203B41FA5}">
                      <a16:colId xmlns:a16="http://schemas.microsoft.com/office/drawing/2014/main" val="1733877350"/>
                    </a:ext>
                  </a:extLst>
                </a:gridCol>
              </a:tblGrid>
              <a:tr h="316854">
                <a:tc>
                  <a:txBody>
                    <a:bodyPr/>
                    <a:lstStyle/>
                    <a:p>
                      <a:r>
                        <a:rPr lang="en-GB" sz="1400" b="1" u="none" dirty="0"/>
                        <a:t>Code</a:t>
                      </a:r>
                    </a:p>
                  </a:txBody>
                  <a:tcPr marL="36000" marR="36000" marT="36000" marB="108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buFont typeface="Arial" panose="020B0604020202020204" pitchFamily="34" charset="0"/>
                        <a:buNone/>
                      </a:pPr>
                      <a:r>
                        <a:rPr lang="en-US" sz="1400" b="1" i="0" u="none" kern="1200" dirty="0">
                          <a:solidFill>
                            <a:schemeClr val="tx1"/>
                          </a:solidFill>
                          <a:effectLst/>
                          <a:latin typeface="+mn-lt"/>
                          <a:ea typeface="+mn-ea"/>
                          <a:cs typeface="+mn-cs"/>
                        </a:rPr>
                        <a:t>Country name</a:t>
                      </a:r>
                    </a:p>
                  </a:txBody>
                  <a:tcPr marL="36000" marR="36000" marT="36000" marB="108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37669411"/>
                  </a:ext>
                </a:extLst>
              </a:tr>
              <a:tr h="180558">
                <a:tc>
                  <a:txBody>
                    <a:bodyPr/>
                    <a:lstStyle/>
                    <a:p>
                      <a:pPr algn="l" fontAlgn="b"/>
                      <a:r>
                        <a:rPr lang="en-US" sz="1100" b="0" i="0" u="none" strike="noStrike" dirty="0">
                          <a:solidFill>
                            <a:srgbClr val="000000"/>
                          </a:solidFill>
                          <a:effectLst/>
                          <a:latin typeface="Calibri" panose="020F0502020204030204" pitchFamily="34" charset="0"/>
                        </a:rPr>
                        <a:t>MOZ</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Mozambique</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15364923"/>
                  </a:ext>
                </a:extLst>
              </a:tr>
              <a:tr h="180558">
                <a:tc>
                  <a:txBody>
                    <a:bodyPr/>
                    <a:lstStyle/>
                    <a:p>
                      <a:pPr algn="l" fontAlgn="b"/>
                      <a:r>
                        <a:rPr lang="en-US" sz="1100" b="0" i="0" u="none" strike="noStrike" dirty="0">
                          <a:solidFill>
                            <a:srgbClr val="000000"/>
                          </a:solidFill>
                          <a:effectLst/>
                          <a:latin typeface="Calibri" panose="020F0502020204030204" pitchFamily="34" charset="0"/>
                        </a:rPr>
                        <a:t>MRT</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Mauritani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03512146"/>
                  </a:ext>
                </a:extLst>
              </a:tr>
              <a:tr h="180558">
                <a:tc>
                  <a:txBody>
                    <a:bodyPr/>
                    <a:lstStyle/>
                    <a:p>
                      <a:pPr algn="l" fontAlgn="b"/>
                      <a:r>
                        <a:rPr lang="en-US" sz="1100" b="0" i="0" u="none" strike="noStrike" dirty="0">
                          <a:solidFill>
                            <a:srgbClr val="000000"/>
                          </a:solidFill>
                          <a:effectLst/>
                          <a:latin typeface="Calibri" panose="020F0502020204030204" pitchFamily="34" charset="0"/>
                        </a:rPr>
                        <a:t>MWI</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Malawi</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90159672"/>
                  </a:ext>
                </a:extLst>
              </a:tr>
              <a:tr h="180558">
                <a:tc>
                  <a:txBody>
                    <a:bodyPr/>
                    <a:lstStyle/>
                    <a:p>
                      <a:pPr algn="l" fontAlgn="b"/>
                      <a:r>
                        <a:rPr lang="en-US" sz="1100" b="0" i="0" u="none" strike="noStrike" dirty="0">
                          <a:solidFill>
                            <a:srgbClr val="000000"/>
                          </a:solidFill>
                          <a:effectLst/>
                          <a:latin typeface="Calibri" panose="020F0502020204030204" pitchFamily="34" charset="0"/>
                        </a:rPr>
                        <a:t>NER</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Niger</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63613053"/>
                  </a:ext>
                </a:extLst>
              </a:tr>
              <a:tr h="180558">
                <a:tc>
                  <a:txBody>
                    <a:bodyPr/>
                    <a:lstStyle/>
                    <a:p>
                      <a:pPr algn="l" fontAlgn="b"/>
                      <a:r>
                        <a:rPr lang="en-US" sz="1100" b="0" i="0" u="none" strike="noStrike" dirty="0">
                          <a:solidFill>
                            <a:srgbClr val="000000"/>
                          </a:solidFill>
                          <a:effectLst/>
                          <a:latin typeface="Calibri" panose="020F0502020204030204" pitchFamily="34" charset="0"/>
                        </a:rPr>
                        <a:t>NG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Nigeri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72345302"/>
                  </a:ext>
                </a:extLst>
              </a:tr>
              <a:tr h="180558">
                <a:tc>
                  <a:txBody>
                    <a:bodyPr/>
                    <a:lstStyle/>
                    <a:p>
                      <a:pPr algn="l" fontAlgn="b"/>
                      <a:r>
                        <a:rPr lang="en-US" sz="1100" b="0" i="0" u="none" strike="noStrike">
                          <a:solidFill>
                            <a:srgbClr val="000000"/>
                          </a:solidFill>
                          <a:effectLst/>
                          <a:latin typeface="Calibri" panose="020F0502020204030204" pitchFamily="34" charset="0"/>
                        </a:rPr>
                        <a:t>NIC</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Nicaragu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45552932"/>
                  </a:ext>
                </a:extLst>
              </a:tr>
              <a:tr h="174174">
                <a:tc>
                  <a:txBody>
                    <a:bodyPr/>
                    <a:lstStyle/>
                    <a:p>
                      <a:pPr algn="l" fontAlgn="b"/>
                      <a:r>
                        <a:rPr lang="en-US" sz="1100" b="0" i="0" u="none" strike="noStrike">
                          <a:solidFill>
                            <a:srgbClr val="000000"/>
                          </a:solidFill>
                          <a:effectLst/>
                          <a:latin typeface="Calibri" panose="020F0502020204030204" pitchFamily="34" charset="0"/>
                        </a:rPr>
                        <a:t>NPL</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Nepal</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93227765"/>
                  </a:ext>
                </a:extLst>
              </a:tr>
              <a:tr h="174174">
                <a:tc>
                  <a:txBody>
                    <a:bodyPr/>
                    <a:lstStyle/>
                    <a:p>
                      <a:pPr algn="l" fontAlgn="b"/>
                      <a:r>
                        <a:rPr lang="en-US" sz="1100" b="0" i="0" u="none" strike="noStrike">
                          <a:solidFill>
                            <a:srgbClr val="000000"/>
                          </a:solidFill>
                          <a:effectLst/>
                          <a:latin typeface="Calibri" panose="020F0502020204030204" pitchFamily="34" charset="0"/>
                        </a:rPr>
                        <a:t>PAK</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Pakistan</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54885963"/>
                  </a:ext>
                </a:extLst>
              </a:tr>
              <a:tr h="174174">
                <a:tc>
                  <a:txBody>
                    <a:bodyPr/>
                    <a:lstStyle/>
                    <a:p>
                      <a:pPr algn="l" fontAlgn="b"/>
                      <a:r>
                        <a:rPr lang="en-US" sz="1100" b="0" i="0" u="none" strike="noStrike">
                          <a:solidFill>
                            <a:srgbClr val="000000"/>
                          </a:solidFill>
                          <a:effectLst/>
                          <a:latin typeface="Calibri" panose="020F0502020204030204" pitchFamily="34" charset="0"/>
                        </a:rPr>
                        <a:t>PHL</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Philippines</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19258092"/>
                  </a:ext>
                </a:extLst>
              </a:tr>
              <a:tr h="174174">
                <a:tc>
                  <a:txBody>
                    <a:bodyPr/>
                    <a:lstStyle/>
                    <a:p>
                      <a:pPr algn="l" fontAlgn="b"/>
                      <a:r>
                        <a:rPr lang="en-US" sz="1100" b="0" i="0" u="none" strike="noStrike">
                          <a:solidFill>
                            <a:srgbClr val="000000"/>
                          </a:solidFill>
                          <a:effectLst/>
                          <a:latin typeface="Calibri" panose="020F0502020204030204" pitchFamily="34" charset="0"/>
                        </a:rPr>
                        <a:t>PNG</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Papua New Guine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03683867"/>
                  </a:ext>
                </a:extLst>
              </a:tr>
              <a:tr h="174174">
                <a:tc>
                  <a:txBody>
                    <a:bodyPr/>
                    <a:lstStyle/>
                    <a:p>
                      <a:pPr algn="l" fontAlgn="b"/>
                      <a:r>
                        <a:rPr lang="en-US" sz="1100" b="0" i="0" u="none" strike="noStrike">
                          <a:solidFill>
                            <a:srgbClr val="000000"/>
                          </a:solidFill>
                          <a:effectLst/>
                          <a:latin typeface="Calibri" panose="020F0502020204030204" pitchFamily="34" charset="0"/>
                        </a:rPr>
                        <a:t>PRK</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err="1">
                          <a:solidFill>
                            <a:srgbClr val="000000"/>
                          </a:solidFill>
                          <a:effectLst/>
                          <a:latin typeface="Calibri" panose="020F0502020204030204" pitchFamily="34" charset="0"/>
                        </a:rPr>
                        <a:t>DPRKorea</a:t>
                      </a:r>
                      <a:endParaRPr lang="en-US" sz="1100" b="0" i="0" u="none" strike="noStrike" dirty="0">
                        <a:solidFill>
                          <a:srgbClr val="000000"/>
                        </a:solidFill>
                        <a:effectLst/>
                        <a:latin typeface="Calibri" panose="020F0502020204030204" pitchFamily="34" charset="0"/>
                      </a:endParaRP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51459235"/>
                  </a:ext>
                </a:extLst>
              </a:tr>
              <a:tr h="174174">
                <a:tc>
                  <a:txBody>
                    <a:bodyPr/>
                    <a:lstStyle/>
                    <a:p>
                      <a:pPr algn="l" fontAlgn="b"/>
                      <a:r>
                        <a:rPr lang="en-US" sz="1100" b="0" i="0" u="none" strike="noStrike">
                          <a:solidFill>
                            <a:srgbClr val="000000"/>
                          </a:solidFill>
                          <a:effectLst/>
                          <a:latin typeface="Calibri" panose="020F0502020204030204" pitchFamily="34" charset="0"/>
                        </a:rPr>
                        <a:t>PSE</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West Bank and Gaz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2467682"/>
                  </a:ext>
                </a:extLst>
              </a:tr>
              <a:tr h="174174">
                <a:tc>
                  <a:txBody>
                    <a:bodyPr/>
                    <a:lstStyle/>
                    <a:p>
                      <a:pPr algn="l" fontAlgn="b"/>
                      <a:r>
                        <a:rPr lang="en-US" sz="1100" b="0" i="0" u="none" strike="noStrike" dirty="0">
                          <a:solidFill>
                            <a:srgbClr val="000000"/>
                          </a:solidFill>
                          <a:effectLst/>
                          <a:latin typeface="Calibri" panose="020F0502020204030204" pitchFamily="34" charset="0"/>
                        </a:rPr>
                        <a:t>RW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Rwand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29332358"/>
                  </a:ext>
                </a:extLst>
              </a:tr>
              <a:tr h="174174">
                <a:tc>
                  <a:txBody>
                    <a:bodyPr/>
                    <a:lstStyle/>
                    <a:p>
                      <a:pPr algn="l" fontAlgn="b"/>
                      <a:r>
                        <a:rPr lang="en-US" sz="1100" b="0" i="0" u="none" strike="noStrike" dirty="0">
                          <a:solidFill>
                            <a:srgbClr val="000000"/>
                          </a:solidFill>
                          <a:effectLst/>
                          <a:latin typeface="Calibri" panose="020F0502020204030204" pitchFamily="34" charset="0"/>
                        </a:rPr>
                        <a:t>SDN</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Sudan</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84812935"/>
                  </a:ext>
                </a:extLst>
              </a:tr>
              <a:tr h="174174">
                <a:tc>
                  <a:txBody>
                    <a:bodyPr/>
                    <a:lstStyle/>
                    <a:p>
                      <a:pPr algn="l" fontAlgn="b"/>
                      <a:r>
                        <a:rPr lang="en-US" sz="1100" b="0" i="0" u="none" strike="noStrike" dirty="0">
                          <a:solidFill>
                            <a:srgbClr val="000000"/>
                          </a:solidFill>
                          <a:effectLst/>
                          <a:latin typeface="Calibri" panose="020F0502020204030204" pitchFamily="34" charset="0"/>
                        </a:rPr>
                        <a:t>SEN</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Senegal</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66789183"/>
                  </a:ext>
                </a:extLst>
              </a:tr>
              <a:tr h="174174">
                <a:tc>
                  <a:txBody>
                    <a:bodyPr/>
                    <a:lstStyle/>
                    <a:p>
                      <a:pPr algn="l" fontAlgn="b"/>
                      <a:r>
                        <a:rPr lang="en-US" sz="1100" b="0" i="0" u="none" strike="noStrike">
                          <a:solidFill>
                            <a:srgbClr val="000000"/>
                          </a:solidFill>
                          <a:effectLst/>
                          <a:latin typeface="Calibri" panose="020F0502020204030204" pitchFamily="34" charset="0"/>
                        </a:rPr>
                        <a:t>SLB</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Solomon Islands</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76748943"/>
                  </a:ext>
                </a:extLst>
              </a:tr>
              <a:tr h="174174">
                <a:tc>
                  <a:txBody>
                    <a:bodyPr/>
                    <a:lstStyle/>
                    <a:p>
                      <a:pPr algn="l" fontAlgn="b"/>
                      <a:r>
                        <a:rPr lang="en-US" sz="1100" b="0" i="0" u="none" strike="noStrike">
                          <a:solidFill>
                            <a:srgbClr val="000000"/>
                          </a:solidFill>
                          <a:effectLst/>
                          <a:latin typeface="Calibri" panose="020F0502020204030204" pitchFamily="34" charset="0"/>
                        </a:rPr>
                        <a:t>SLE</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Sierra Leone</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54772511"/>
                  </a:ext>
                </a:extLst>
              </a:tr>
              <a:tr h="174174">
                <a:tc>
                  <a:txBody>
                    <a:bodyPr/>
                    <a:lstStyle/>
                    <a:p>
                      <a:pPr algn="l" fontAlgn="b"/>
                      <a:r>
                        <a:rPr lang="en-US" sz="1100" b="0" i="0" u="none" strike="noStrike">
                          <a:solidFill>
                            <a:srgbClr val="000000"/>
                          </a:solidFill>
                          <a:effectLst/>
                          <a:latin typeface="Calibri" panose="020F0502020204030204" pitchFamily="34" charset="0"/>
                        </a:rPr>
                        <a:t>SLV</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El Salvador</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67739263"/>
                  </a:ext>
                </a:extLst>
              </a:tr>
              <a:tr h="174174">
                <a:tc>
                  <a:txBody>
                    <a:bodyPr/>
                    <a:lstStyle/>
                    <a:p>
                      <a:pPr algn="l" fontAlgn="b"/>
                      <a:r>
                        <a:rPr lang="en-US" sz="1100" b="0" i="0" u="none" strike="noStrike">
                          <a:solidFill>
                            <a:srgbClr val="000000"/>
                          </a:solidFill>
                          <a:effectLst/>
                          <a:latin typeface="Calibri" panose="020F0502020204030204" pitchFamily="34" charset="0"/>
                        </a:rPr>
                        <a:t>SOM</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Somali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57415700"/>
                  </a:ext>
                </a:extLst>
              </a:tr>
              <a:tr h="174174">
                <a:tc>
                  <a:txBody>
                    <a:bodyPr/>
                    <a:lstStyle/>
                    <a:p>
                      <a:pPr algn="l" fontAlgn="b"/>
                      <a:r>
                        <a:rPr lang="en-US" sz="1100" b="0" i="0" u="none" strike="noStrike">
                          <a:solidFill>
                            <a:srgbClr val="000000"/>
                          </a:solidFill>
                          <a:effectLst/>
                          <a:latin typeface="Calibri" panose="020F0502020204030204" pitchFamily="34" charset="0"/>
                        </a:rPr>
                        <a:t>SSD</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South Sudan</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45514761"/>
                  </a:ext>
                </a:extLst>
              </a:tr>
              <a:tr h="174174">
                <a:tc>
                  <a:txBody>
                    <a:bodyPr/>
                    <a:lstStyle/>
                    <a:p>
                      <a:pPr algn="l" fontAlgn="b"/>
                      <a:r>
                        <a:rPr lang="en-US" sz="1100" b="0" i="0" u="none" strike="noStrike">
                          <a:solidFill>
                            <a:srgbClr val="000000"/>
                          </a:solidFill>
                          <a:effectLst/>
                          <a:latin typeface="Calibri" panose="020F0502020204030204" pitchFamily="34" charset="0"/>
                        </a:rPr>
                        <a:t>STP</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Sao Tome &amp; Principe</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75756680"/>
                  </a:ext>
                </a:extLst>
              </a:tr>
              <a:tr h="174174">
                <a:tc>
                  <a:txBody>
                    <a:bodyPr/>
                    <a:lstStyle/>
                    <a:p>
                      <a:pPr algn="l" fontAlgn="b"/>
                      <a:r>
                        <a:rPr lang="en-US" sz="1100" b="0" i="0" u="none" strike="noStrike">
                          <a:solidFill>
                            <a:srgbClr val="000000"/>
                          </a:solidFill>
                          <a:effectLst/>
                          <a:latin typeface="Calibri" panose="020F0502020204030204" pitchFamily="34" charset="0"/>
                        </a:rPr>
                        <a:t>SWZ</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Eswatini</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14050537"/>
                  </a:ext>
                </a:extLst>
              </a:tr>
              <a:tr h="174174">
                <a:tc>
                  <a:txBody>
                    <a:bodyPr/>
                    <a:lstStyle/>
                    <a:p>
                      <a:pPr algn="l" fontAlgn="b"/>
                      <a:r>
                        <a:rPr lang="en-US" sz="1100" b="0" i="0" u="none" strike="noStrike">
                          <a:solidFill>
                            <a:srgbClr val="000000"/>
                          </a:solidFill>
                          <a:effectLst/>
                          <a:latin typeface="Calibri" panose="020F0502020204030204" pitchFamily="34" charset="0"/>
                        </a:rPr>
                        <a:t>SYR</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Syri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89508978"/>
                  </a:ext>
                </a:extLst>
              </a:tr>
              <a:tr h="174174">
                <a:tc>
                  <a:txBody>
                    <a:bodyPr/>
                    <a:lstStyle/>
                    <a:p>
                      <a:pPr algn="l" fontAlgn="b"/>
                      <a:r>
                        <a:rPr lang="en-US" sz="1100" b="0" i="0" u="none" strike="noStrike">
                          <a:solidFill>
                            <a:srgbClr val="000000"/>
                          </a:solidFill>
                          <a:effectLst/>
                          <a:latin typeface="Calibri" panose="020F0502020204030204" pitchFamily="34" charset="0"/>
                        </a:rPr>
                        <a:t>TCD</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Chad</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73514737"/>
                  </a:ext>
                </a:extLst>
              </a:tr>
              <a:tr h="174174">
                <a:tc>
                  <a:txBody>
                    <a:bodyPr/>
                    <a:lstStyle/>
                    <a:p>
                      <a:pPr algn="l" fontAlgn="b"/>
                      <a:r>
                        <a:rPr lang="en-US" sz="1100" b="0" i="0" u="none" strike="noStrike">
                          <a:solidFill>
                            <a:srgbClr val="000000"/>
                          </a:solidFill>
                          <a:effectLst/>
                          <a:latin typeface="Calibri" panose="020F0502020204030204" pitchFamily="34" charset="0"/>
                        </a:rPr>
                        <a:t>TGO</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Togo</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75297233"/>
                  </a:ext>
                </a:extLst>
              </a:tr>
            </a:tbl>
          </a:graphicData>
        </a:graphic>
      </p:graphicFrame>
      <p:graphicFrame>
        <p:nvGraphicFramePr>
          <p:cNvPr id="17" name="Table 11">
            <a:extLst>
              <a:ext uri="{FF2B5EF4-FFF2-40B4-BE49-F238E27FC236}">
                <a16:creationId xmlns:a16="http://schemas.microsoft.com/office/drawing/2014/main" id="{FAB55831-196A-9EDA-5486-3B205AEB0083}"/>
              </a:ext>
            </a:extLst>
          </p:cNvPr>
          <p:cNvGraphicFramePr>
            <a:graphicFrameLocks noGrp="1"/>
          </p:cNvGraphicFramePr>
          <p:nvPr/>
        </p:nvGraphicFramePr>
        <p:xfrm>
          <a:off x="9292936" y="963928"/>
          <a:ext cx="2070807" cy="3864480"/>
        </p:xfrm>
        <a:graphic>
          <a:graphicData uri="http://schemas.openxmlformats.org/drawingml/2006/table">
            <a:tbl>
              <a:tblPr firstRow="1" bandRow="1">
                <a:tableStyleId>{2D5ABB26-0587-4C30-8999-92F81FD0307C}</a:tableStyleId>
              </a:tblPr>
              <a:tblGrid>
                <a:gridCol w="564125">
                  <a:extLst>
                    <a:ext uri="{9D8B030D-6E8A-4147-A177-3AD203B41FA5}">
                      <a16:colId xmlns:a16="http://schemas.microsoft.com/office/drawing/2014/main" val="3652347298"/>
                    </a:ext>
                  </a:extLst>
                </a:gridCol>
                <a:gridCol w="1506682">
                  <a:extLst>
                    <a:ext uri="{9D8B030D-6E8A-4147-A177-3AD203B41FA5}">
                      <a16:colId xmlns:a16="http://schemas.microsoft.com/office/drawing/2014/main" val="1733877350"/>
                    </a:ext>
                  </a:extLst>
                </a:gridCol>
              </a:tblGrid>
              <a:tr h="316854">
                <a:tc>
                  <a:txBody>
                    <a:bodyPr/>
                    <a:lstStyle/>
                    <a:p>
                      <a:r>
                        <a:rPr lang="en-GB" sz="1400" b="1" u="none" dirty="0"/>
                        <a:t>Code</a:t>
                      </a:r>
                    </a:p>
                  </a:txBody>
                  <a:tcPr marL="36000" marR="36000" marT="36000" marB="108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buFont typeface="Arial" panose="020B0604020202020204" pitchFamily="34" charset="0"/>
                        <a:buNone/>
                      </a:pPr>
                      <a:r>
                        <a:rPr lang="en-US" sz="1400" b="1" i="0" u="none" kern="1200" dirty="0">
                          <a:solidFill>
                            <a:schemeClr val="tx1"/>
                          </a:solidFill>
                          <a:effectLst/>
                          <a:latin typeface="+mn-lt"/>
                          <a:ea typeface="+mn-ea"/>
                          <a:cs typeface="+mn-cs"/>
                        </a:rPr>
                        <a:t>Country name</a:t>
                      </a:r>
                    </a:p>
                  </a:txBody>
                  <a:tcPr marL="36000" marR="36000" marT="36000" marB="108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37669411"/>
                  </a:ext>
                </a:extLst>
              </a:tr>
              <a:tr h="180558">
                <a:tc>
                  <a:txBody>
                    <a:bodyPr/>
                    <a:lstStyle/>
                    <a:p>
                      <a:pPr algn="l" fontAlgn="b"/>
                      <a:r>
                        <a:rPr lang="en-US" sz="1100" b="0" i="0" u="none" strike="noStrike" dirty="0">
                          <a:solidFill>
                            <a:srgbClr val="000000"/>
                          </a:solidFill>
                          <a:effectLst/>
                          <a:latin typeface="Calibri" panose="020F0502020204030204" pitchFamily="34" charset="0"/>
                        </a:rPr>
                        <a:t>TJK</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Tajikistan</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15364923"/>
                  </a:ext>
                </a:extLst>
              </a:tr>
              <a:tr h="180558">
                <a:tc>
                  <a:txBody>
                    <a:bodyPr/>
                    <a:lstStyle/>
                    <a:p>
                      <a:pPr algn="l" fontAlgn="b"/>
                      <a:r>
                        <a:rPr lang="en-US" sz="1100" b="0" i="0" u="none" strike="noStrike" dirty="0">
                          <a:solidFill>
                            <a:srgbClr val="000000"/>
                          </a:solidFill>
                          <a:effectLst/>
                          <a:latin typeface="Calibri" panose="020F0502020204030204" pitchFamily="34" charset="0"/>
                        </a:rPr>
                        <a:t>TLS</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Timor-Leste</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03512146"/>
                  </a:ext>
                </a:extLst>
              </a:tr>
              <a:tr h="180558">
                <a:tc>
                  <a:txBody>
                    <a:bodyPr/>
                    <a:lstStyle/>
                    <a:p>
                      <a:pPr algn="l" fontAlgn="b"/>
                      <a:r>
                        <a:rPr lang="en-US" sz="1100" b="0" i="0" u="none" strike="noStrike">
                          <a:solidFill>
                            <a:srgbClr val="000000"/>
                          </a:solidFill>
                          <a:effectLst/>
                          <a:latin typeface="Calibri" panose="020F0502020204030204" pitchFamily="34" charset="0"/>
                        </a:rPr>
                        <a:t>TON</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Tong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90159672"/>
                  </a:ext>
                </a:extLst>
              </a:tr>
              <a:tr h="180558">
                <a:tc>
                  <a:txBody>
                    <a:bodyPr/>
                    <a:lstStyle/>
                    <a:p>
                      <a:pPr algn="l" fontAlgn="b"/>
                      <a:r>
                        <a:rPr lang="en-US" sz="1100" b="0" i="0" u="none" strike="noStrike" dirty="0">
                          <a:solidFill>
                            <a:srgbClr val="000000"/>
                          </a:solidFill>
                          <a:effectLst/>
                          <a:latin typeface="Calibri" panose="020F0502020204030204" pitchFamily="34" charset="0"/>
                        </a:rPr>
                        <a:t>TUN</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Tunisi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63613053"/>
                  </a:ext>
                </a:extLst>
              </a:tr>
              <a:tr h="180558">
                <a:tc>
                  <a:txBody>
                    <a:bodyPr/>
                    <a:lstStyle/>
                    <a:p>
                      <a:pPr algn="l" fontAlgn="b"/>
                      <a:r>
                        <a:rPr lang="en-US" sz="1100" b="0" i="0" u="none" strike="noStrike">
                          <a:solidFill>
                            <a:srgbClr val="000000"/>
                          </a:solidFill>
                          <a:effectLst/>
                          <a:latin typeface="Calibri" panose="020F0502020204030204" pitchFamily="34" charset="0"/>
                        </a:rPr>
                        <a:t>TUV</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Tuvalu</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72345302"/>
                  </a:ext>
                </a:extLst>
              </a:tr>
              <a:tr h="180558">
                <a:tc>
                  <a:txBody>
                    <a:bodyPr/>
                    <a:lstStyle/>
                    <a:p>
                      <a:pPr algn="l" fontAlgn="b"/>
                      <a:r>
                        <a:rPr lang="en-US" sz="1100" b="0" i="0" u="none" strike="noStrike" dirty="0">
                          <a:solidFill>
                            <a:srgbClr val="000000"/>
                          </a:solidFill>
                          <a:effectLst/>
                          <a:latin typeface="Calibri" panose="020F0502020204030204" pitchFamily="34" charset="0"/>
                        </a:rPr>
                        <a:t>TZ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Tanzani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45552932"/>
                  </a:ext>
                </a:extLst>
              </a:tr>
              <a:tr h="174174">
                <a:tc>
                  <a:txBody>
                    <a:bodyPr/>
                    <a:lstStyle/>
                    <a:p>
                      <a:pPr algn="l" fontAlgn="b"/>
                      <a:r>
                        <a:rPr lang="en-US" sz="1100" b="0" i="0" u="none" strike="noStrike" dirty="0">
                          <a:solidFill>
                            <a:srgbClr val="000000"/>
                          </a:solidFill>
                          <a:effectLst/>
                          <a:latin typeface="Calibri" panose="020F0502020204030204" pitchFamily="34" charset="0"/>
                        </a:rPr>
                        <a:t>UG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Ugand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93227765"/>
                  </a:ext>
                </a:extLst>
              </a:tr>
              <a:tr h="174174">
                <a:tc>
                  <a:txBody>
                    <a:bodyPr/>
                    <a:lstStyle/>
                    <a:p>
                      <a:pPr algn="l" fontAlgn="b"/>
                      <a:r>
                        <a:rPr lang="en-US" sz="1100" b="0" i="0" u="none" strike="noStrike">
                          <a:solidFill>
                            <a:srgbClr val="000000"/>
                          </a:solidFill>
                          <a:effectLst/>
                          <a:latin typeface="Calibri" panose="020F0502020204030204" pitchFamily="34" charset="0"/>
                        </a:rPr>
                        <a:t>UKR</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Ukraine</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54885963"/>
                  </a:ext>
                </a:extLst>
              </a:tr>
              <a:tr h="174174">
                <a:tc>
                  <a:txBody>
                    <a:bodyPr/>
                    <a:lstStyle/>
                    <a:p>
                      <a:pPr algn="l" fontAlgn="b"/>
                      <a:r>
                        <a:rPr lang="en-US" sz="1100" b="0" i="0" u="none" strike="noStrike">
                          <a:solidFill>
                            <a:srgbClr val="000000"/>
                          </a:solidFill>
                          <a:effectLst/>
                          <a:latin typeface="Calibri" panose="020F0502020204030204" pitchFamily="34" charset="0"/>
                        </a:rPr>
                        <a:t>UZB</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Uzbekistan</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19258092"/>
                  </a:ext>
                </a:extLst>
              </a:tr>
              <a:tr h="174174">
                <a:tc>
                  <a:txBody>
                    <a:bodyPr/>
                    <a:lstStyle/>
                    <a:p>
                      <a:pPr algn="l" fontAlgn="b"/>
                      <a:r>
                        <a:rPr lang="en-US" sz="1100" b="0" i="0" u="none" strike="noStrike">
                          <a:solidFill>
                            <a:srgbClr val="000000"/>
                          </a:solidFill>
                          <a:effectLst/>
                          <a:latin typeface="Calibri" panose="020F0502020204030204" pitchFamily="34" charset="0"/>
                        </a:rPr>
                        <a:t>VCT</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Saint Vincent &amp; The Grenadines</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03683867"/>
                  </a:ext>
                </a:extLst>
              </a:tr>
              <a:tr h="174174">
                <a:tc>
                  <a:txBody>
                    <a:bodyPr/>
                    <a:lstStyle/>
                    <a:p>
                      <a:pPr algn="l" fontAlgn="b"/>
                      <a:r>
                        <a:rPr lang="en-US" sz="1100" b="0" i="0" u="none" strike="noStrike">
                          <a:solidFill>
                            <a:srgbClr val="000000"/>
                          </a:solidFill>
                          <a:effectLst/>
                          <a:latin typeface="Calibri" panose="020F0502020204030204" pitchFamily="34" charset="0"/>
                        </a:rPr>
                        <a:t>VNM</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err="1">
                          <a:solidFill>
                            <a:srgbClr val="000000"/>
                          </a:solidFill>
                          <a:effectLst/>
                          <a:latin typeface="Calibri" panose="020F0502020204030204" pitchFamily="34" charset="0"/>
                        </a:rPr>
                        <a:t>VietNam</a:t>
                      </a:r>
                      <a:endParaRPr lang="en-US" sz="1100" b="0" i="0" u="none" strike="noStrike" dirty="0">
                        <a:solidFill>
                          <a:srgbClr val="000000"/>
                        </a:solidFill>
                        <a:effectLst/>
                        <a:latin typeface="Calibri" panose="020F0502020204030204" pitchFamily="34" charset="0"/>
                      </a:endParaRP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51459235"/>
                  </a:ext>
                </a:extLst>
              </a:tr>
              <a:tr h="174174">
                <a:tc>
                  <a:txBody>
                    <a:bodyPr/>
                    <a:lstStyle/>
                    <a:p>
                      <a:pPr algn="l" fontAlgn="b"/>
                      <a:r>
                        <a:rPr lang="en-US" sz="1100" b="0" i="0" u="none" strike="noStrike">
                          <a:solidFill>
                            <a:srgbClr val="000000"/>
                          </a:solidFill>
                          <a:effectLst/>
                          <a:latin typeface="Calibri" panose="020F0502020204030204" pitchFamily="34" charset="0"/>
                        </a:rPr>
                        <a:t>VUT</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Vanuatu</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2467682"/>
                  </a:ext>
                </a:extLst>
              </a:tr>
              <a:tr h="174174">
                <a:tc>
                  <a:txBody>
                    <a:bodyPr/>
                    <a:lstStyle/>
                    <a:p>
                      <a:pPr algn="l" fontAlgn="b"/>
                      <a:r>
                        <a:rPr lang="en-US" sz="1100" b="0" i="0" u="none" strike="noStrike">
                          <a:solidFill>
                            <a:srgbClr val="000000"/>
                          </a:solidFill>
                          <a:effectLst/>
                          <a:latin typeface="Calibri" panose="020F0502020204030204" pitchFamily="34" charset="0"/>
                        </a:rPr>
                        <a:t>WSM</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Samo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29332358"/>
                  </a:ext>
                </a:extLst>
              </a:tr>
              <a:tr h="174174">
                <a:tc>
                  <a:txBody>
                    <a:bodyPr/>
                    <a:lstStyle/>
                    <a:p>
                      <a:pPr algn="l" fontAlgn="b"/>
                      <a:r>
                        <a:rPr lang="en-US" sz="1100" b="0" i="0" u="none" strike="noStrike">
                          <a:solidFill>
                            <a:srgbClr val="000000"/>
                          </a:solidFill>
                          <a:effectLst/>
                          <a:latin typeface="Calibri" panose="020F0502020204030204" pitchFamily="34" charset="0"/>
                        </a:rPr>
                        <a:t>XKX</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Kosovo</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84812935"/>
                  </a:ext>
                </a:extLst>
              </a:tr>
              <a:tr h="174174">
                <a:tc>
                  <a:txBody>
                    <a:bodyPr/>
                    <a:lstStyle/>
                    <a:p>
                      <a:pPr algn="l" fontAlgn="b"/>
                      <a:r>
                        <a:rPr lang="en-US" sz="1100" b="0" i="0" u="none" strike="noStrike">
                          <a:solidFill>
                            <a:srgbClr val="000000"/>
                          </a:solidFill>
                          <a:effectLst/>
                          <a:latin typeface="Calibri" panose="020F0502020204030204" pitchFamily="34" charset="0"/>
                        </a:rPr>
                        <a:t>YEM</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Yemen</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66789183"/>
                  </a:ext>
                </a:extLst>
              </a:tr>
              <a:tr h="174174">
                <a:tc>
                  <a:txBody>
                    <a:bodyPr/>
                    <a:lstStyle/>
                    <a:p>
                      <a:pPr algn="l" fontAlgn="b"/>
                      <a:r>
                        <a:rPr lang="en-US" sz="1100" b="0" i="0" u="none" strike="noStrike">
                          <a:solidFill>
                            <a:srgbClr val="000000"/>
                          </a:solidFill>
                          <a:effectLst/>
                          <a:latin typeface="Calibri" panose="020F0502020204030204" pitchFamily="34" charset="0"/>
                        </a:rPr>
                        <a:t>ZMB</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Zambi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76748943"/>
                  </a:ext>
                </a:extLst>
              </a:tr>
              <a:tr h="174174">
                <a:tc>
                  <a:txBody>
                    <a:bodyPr/>
                    <a:lstStyle/>
                    <a:p>
                      <a:pPr algn="l" fontAlgn="b"/>
                      <a:r>
                        <a:rPr lang="en-US" sz="1100" b="0" i="0" u="none" strike="noStrike" dirty="0">
                          <a:solidFill>
                            <a:srgbClr val="000000"/>
                          </a:solidFill>
                          <a:effectLst/>
                          <a:latin typeface="Calibri" panose="020F0502020204030204" pitchFamily="34" charset="0"/>
                        </a:rPr>
                        <a:t>ZWE</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Zimbabwe</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54772511"/>
                  </a:ext>
                </a:extLst>
              </a:tr>
            </a:tbl>
          </a:graphicData>
        </a:graphic>
      </p:graphicFrame>
    </p:spTree>
    <p:extLst>
      <p:ext uri="{BB962C8B-B14F-4D97-AF65-F5344CB8AC3E}">
        <p14:creationId xmlns:p14="http://schemas.microsoft.com/office/powerpoint/2010/main" val="371589823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55AFFEC-E323-4E4A-A5B1-C5FF1EF412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6" name="Object 5" hidden="1">
                        <a:extLst>
                          <a:ext uri="{FF2B5EF4-FFF2-40B4-BE49-F238E27FC236}">
                            <a16:creationId xmlns:a16="http://schemas.microsoft.com/office/drawing/2014/main" id="{E55AFFEC-E323-4E4A-A5B1-C5FF1EF412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D5128F6-B050-450F-B92E-C95727C82DE6}"/>
              </a:ext>
            </a:extLst>
          </p:cNvPr>
          <p:cNvSpPr>
            <a:spLocks noGrp="1"/>
          </p:cNvSpPr>
          <p:nvPr>
            <p:ph type="title"/>
          </p:nvPr>
        </p:nvSpPr>
        <p:spPr>
          <a:xfrm>
            <a:off x="554736" y="197613"/>
            <a:ext cx="11082528" cy="369332"/>
          </a:xfrm>
        </p:spPr>
        <p:txBody>
          <a:bodyPr vert="horz"/>
          <a:lstStyle/>
          <a:p>
            <a:r>
              <a:rPr lang="en-GB" sz="2400" dirty="0"/>
              <a:t>Annex 2: Definitions</a:t>
            </a:r>
          </a:p>
        </p:txBody>
      </p:sp>
      <p:graphicFrame>
        <p:nvGraphicFramePr>
          <p:cNvPr id="11" name="Table 11">
            <a:extLst>
              <a:ext uri="{FF2B5EF4-FFF2-40B4-BE49-F238E27FC236}">
                <a16:creationId xmlns:a16="http://schemas.microsoft.com/office/drawing/2014/main" id="{49FEEAAB-5895-41FA-915D-C4D32131B76A}"/>
              </a:ext>
            </a:extLst>
          </p:cNvPr>
          <p:cNvGraphicFramePr>
            <a:graphicFrameLocks noGrp="1"/>
          </p:cNvGraphicFramePr>
          <p:nvPr/>
        </p:nvGraphicFramePr>
        <p:xfrm>
          <a:off x="554735" y="964214"/>
          <a:ext cx="11082528" cy="3138718"/>
        </p:xfrm>
        <a:graphic>
          <a:graphicData uri="http://schemas.openxmlformats.org/drawingml/2006/table">
            <a:tbl>
              <a:tblPr firstRow="1" bandRow="1">
                <a:tableStyleId>{2D5ABB26-0587-4C30-8999-92F81FD0307C}</a:tableStyleId>
              </a:tblPr>
              <a:tblGrid>
                <a:gridCol w="2230029">
                  <a:extLst>
                    <a:ext uri="{9D8B030D-6E8A-4147-A177-3AD203B41FA5}">
                      <a16:colId xmlns:a16="http://schemas.microsoft.com/office/drawing/2014/main" val="3652347298"/>
                    </a:ext>
                  </a:extLst>
                </a:gridCol>
                <a:gridCol w="8852499">
                  <a:extLst>
                    <a:ext uri="{9D8B030D-6E8A-4147-A177-3AD203B41FA5}">
                      <a16:colId xmlns:a16="http://schemas.microsoft.com/office/drawing/2014/main" val="1733877350"/>
                    </a:ext>
                  </a:extLst>
                </a:gridCol>
              </a:tblGrid>
              <a:tr h="234883">
                <a:tc>
                  <a:txBody>
                    <a:bodyPr/>
                    <a:lstStyle/>
                    <a:p>
                      <a:r>
                        <a:rPr lang="en-GB" sz="1400" b="1" dirty="0"/>
                        <a:t>Term</a:t>
                      </a:r>
                    </a:p>
                  </a:txBody>
                  <a:tcPr marL="36000" marR="36000" marT="36000" marB="36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buFont typeface="Arial" panose="020B0604020202020204" pitchFamily="34" charset="0"/>
                        <a:buNone/>
                      </a:pPr>
                      <a:r>
                        <a:rPr lang="en-US" sz="1400" b="1" dirty="0"/>
                        <a:t>Definition</a:t>
                      </a:r>
                    </a:p>
                  </a:txBody>
                  <a:tcPr marL="36000" marR="36000" marT="36000" marB="36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79350654"/>
                  </a:ext>
                </a:extLst>
              </a:tr>
              <a:tr h="699144">
                <a:tc>
                  <a:txBody>
                    <a:bodyPr/>
                    <a:lstStyle/>
                    <a:p>
                      <a:r>
                        <a:rPr lang="en-GB" sz="1200" b="1" u="sng" dirty="0"/>
                        <a:t>Course:</a:t>
                      </a:r>
                    </a:p>
                  </a:txBody>
                  <a:tcPr marT="108000" marB="180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100" b="0" i="0" kern="1200" dirty="0">
                          <a:solidFill>
                            <a:schemeClr val="tx1"/>
                          </a:solidFill>
                          <a:effectLst/>
                          <a:latin typeface="+mn-lt"/>
                          <a:ea typeface="+mn-ea"/>
                          <a:cs typeface="+mn-cs"/>
                        </a:rPr>
                        <a:t>Number of doses required for a given product for its primary series (e.g. 2 doses of Pfizer BioNTech - Comirnaty)</a:t>
                      </a:r>
                    </a:p>
                  </a:txBody>
                  <a:tcPr marT="108000" marB="180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37669411"/>
                  </a:ext>
                </a:extLst>
              </a:tr>
              <a:tr h="586017">
                <a:tc>
                  <a:txBody>
                    <a:bodyPr/>
                    <a:lstStyle/>
                    <a:p>
                      <a:r>
                        <a:rPr lang="en-GB" sz="1200" b="1" u="sng" dirty="0"/>
                        <a:t>Population coverage:</a:t>
                      </a:r>
                    </a:p>
                  </a:txBody>
                  <a:tcPr marT="108000" marB="180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100" b="0" i="0" kern="1200" dirty="0">
                          <a:solidFill>
                            <a:schemeClr val="tx1"/>
                          </a:solidFill>
                          <a:effectLst/>
                          <a:latin typeface="+mn-lt"/>
                          <a:ea typeface="+mn-ea"/>
                          <a:cs typeface="+mn-cs"/>
                        </a:rPr>
                        <a:t>Percentage of total population fully vaccinated with </a:t>
                      </a:r>
                      <a:r>
                        <a:rPr lang="en-US" sz="1100" b="0" i="1" u="sng" kern="1200" dirty="0">
                          <a:solidFill>
                            <a:schemeClr val="tx1"/>
                          </a:solidFill>
                          <a:effectLst/>
                          <a:latin typeface="+mn-lt"/>
                          <a:ea typeface="+mn-ea"/>
                          <a:cs typeface="+mn-cs"/>
                        </a:rPr>
                        <a:t>any COVID-19 vaccine product from any source</a:t>
                      </a:r>
                      <a:endParaRPr lang="en-US" sz="1100" b="0" i="0" kern="1200" dirty="0">
                        <a:solidFill>
                          <a:schemeClr val="tx1"/>
                        </a:solidFill>
                        <a:effectLst/>
                        <a:latin typeface="+mn-lt"/>
                        <a:ea typeface="+mn-ea"/>
                        <a:cs typeface="+mn-cs"/>
                      </a:endParaRPr>
                    </a:p>
                  </a:txBody>
                  <a:tcPr marT="108000" marB="180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15364923"/>
                  </a:ext>
                </a:extLst>
              </a:tr>
              <a:tr h="708964">
                <a:tc>
                  <a:txBody>
                    <a:bodyPr/>
                    <a:lstStyle/>
                    <a:p>
                      <a:r>
                        <a:rPr lang="en-GB" sz="1200" b="1" u="sng" dirty="0"/>
                        <a:t>Product utilization:</a:t>
                      </a:r>
                    </a:p>
                  </a:txBody>
                  <a:tcPr marT="108000" marB="180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100" b="0" i="0" kern="1200" dirty="0">
                          <a:solidFill>
                            <a:schemeClr val="tx1"/>
                          </a:solidFill>
                          <a:effectLst/>
                          <a:latin typeface="+mn-lt"/>
                          <a:ea typeface="+mn-ea"/>
                          <a:cs typeface="+mn-cs"/>
                        </a:rPr>
                        <a:t>Percentage of total doses of </a:t>
                      </a:r>
                      <a:r>
                        <a:rPr lang="en-US" sz="1100" b="0" i="1" u="sng" kern="1200" dirty="0">
                          <a:solidFill>
                            <a:schemeClr val="tx1"/>
                          </a:solidFill>
                          <a:effectLst/>
                          <a:latin typeface="+mn-lt"/>
                          <a:ea typeface="+mn-ea"/>
                          <a:cs typeface="+mn-cs"/>
                        </a:rPr>
                        <a:t>any COVID-19 vaccine product from any source</a:t>
                      </a:r>
                      <a:r>
                        <a:rPr lang="en-US" sz="1100" b="0" i="0" kern="1200" dirty="0">
                          <a:solidFill>
                            <a:schemeClr val="tx1"/>
                          </a:solidFill>
                          <a:effectLst/>
                          <a:latin typeface="+mn-lt"/>
                          <a:ea typeface="+mn-ea"/>
                          <a:cs typeface="+mn-cs"/>
                        </a:rPr>
                        <a:t> received that have been used</a:t>
                      </a:r>
                    </a:p>
                  </a:txBody>
                  <a:tcPr marT="108000" marB="180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90159672"/>
                  </a:ext>
                </a:extLst>
              </a:tr>
              <a:tr h="859233">
                <a:tc>
                  <a:txBody>
                    <a:bodyPr/>
                    <a:lstStyle/>
                    <a:p>
                      <a:r>
                        <a:rPr lang="en-GB" sz="1200" b="1" u="sng" dirty="0"/>
                        <a:t>Daily vaccination rate:</a:t>
                      </a:r>
                    </a:p>
                  </a:txBody>
                  <a:tcPr marT="108000" marB="180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100" b="0" i="0" kern="1200" dirty="0">
                          <a:solidFill>
                            <a:schemeClr val="tx1"/>
                          </a:solidFill>
                          <a:effectLst/>
                          <a:latin typeface="+mn-lt"/>
                          <a:ea typeface="+mn-ea"/>
                          <a:cs typeface="+mn-cs"/>
                        </a:rPr>
                        <a:t>Number of doses of </a:t>
                      </a:r>
                      <a:r>
                        <a:rPr lang="en-US" sz="1100" b="0" i="1" u="sng" kern="1200" dirty="0">
                          <a:solidFill>
                            <a:schemeClr val="tx1"/>
                          </a:solidFill>
                          <a:effectLst/>
                          <a:latin typeface="+mn-lt"/>
                          <a:ea typeface="+mn-ea"/>
                          <a:cs typeface="+mn-cs"/>
                        </a:rPr>
                        <a:t>any COVID-19 vaccine product from any source</a:t>
                      </a:r>
                      <a:r>
                        <a:rPr lang="en-US" sz="1100" b="0" i="0" kern="1200" dirty="0">
                          <a:solidFill>
                            <a:schemeClr val="tx1"/>
                          </a:solidFill>
                          <a:effectLst/>
                          <a:latin typeface="+mn-lt"/>
                          <a:ea typeface="+mn-ea"/>
                          <a:cs typeface="+mn-cs"/>
                        </a:rPr>
                        <a:t> administered per unit time as calculated by examining historical dose administration data</a:t>
                      </a:r>
                    </a:p>
                  </a:txBody>
                  <a:tcPr marT="108000" marB="180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63613053"/>
                  </a:ext>
                </a:extLst>
              </a:tr>
            </a:tbl>
          </a:graphicData>
        </a:graphic>
      </p:graphicFrame>
    </p:spTree>
    <p:extLst>
      <p:ext uri="{BB962C8B-B14F-4D97-AF65-F5344CB8AC3E}">
        <p14:creationId xmlns:p14="http://schemas.microsoft.com/office/powerpoint/2010/main" val="7789238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title="CoVDP_IAI report_amc">
            <a:hlinkClick r:id="rId3" tooltip="Open 'CoVDP_IAI report_amc' in PowerBI"/>
            <a:extLst>
              <a:ext uri="{FF2B5EF4-FFF2-40B4-BE49-F238E27FC236}">
                <a16:creationId xmlns:a16="http://schemas.microsoft.com/office/drawing/2014/main" id="{3E1E28A2-C0CB-B9AA-97DD-E7061A0664BE}"/>
              </a:ext>
            </a:extLst>
          </p:cNvPr>
          <p:cNvPicPr>
            <a:picLocks noChangeAspect="1"/>
          </p:cNvPicPr>
          <p:nvPr>
            <p:custDataLst>
              <p:tags r:id="rId1"/>
            </p:custDataLst>
          </p:nvPr>
        </p:nvPicPr>
        <p:blipFill>
          <a:blip r:embed="rId4"/>
          <a:srcRect/>
          <a:stretch>
            <a:fillRect/>
          </a:stretch>
        </p:blipFill>
        <p:spPr>
          <a:xfrm>
            <a:off x="0" y="0"/>
            <a:ext cx="12192000" cy="6857999"/>
          </a:xfrm>
          <a:prstGeom prst="rect">
            <a:avLst/>
          </a:prstGeom>
        </p:spPr>
      </p:pic>
    </p:spTree>
    <p:extLst>
      <p:ext uri="{BB962C8B-B14F-4D97-AF65-F5344CB8AC3E}">
        <p14:creationId xmlns:p14="http://schemas.microsoft.com/office/powerpoint/2010/main" val="41932156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title="CoVDP_IAI report_amc">
            <a:hlinkClick r:id="rId3" tooltip="Open 'CoVDP_IAI report_amc' in PowerBI"/>
            <a:extLst>
              <a:ext uri="{FF2B5EF4-FFF2-40B4-BE49-F238E27FC236}">
                <a16:creationId xmlns:a16="http://schemas.microsoft.com/office/drawing/2014/main" id="{509CEF75-6896-3BD2-9865-DEFD24240AA7}"/>
              </a:ext>
            </a:extLst>
          </p:cNvPr>
          <p:cNvPicPr>
            <a:picLocks noChangeAspect="1"/>
          </p:cNvPicPr>
          <p:nvPr>
            <p:custDataLst>
              <p:tags r:id="rId1"/>
            </p:custDataLst>
          </p:nvPr>
        </p:nvPicPr>
        <p:blipFill>
          <a:blip r:embed="rId4"/>
          <a:srcRect/>
          <a:stretch>
            <a:fillRect/>
          </a:stretch>
        </p:blipFill>
        <p:spPr>
          <a:xfrm>
            <a:off x="0" y="0"/>
            <a:ext cx="12192000" cy="6857999"/>
          </a:xfrm>
          <a:prstGeom prst="rect">
            <a:avLst/>
          </a:prstGeom>
        </p:spPr>
      </p:pic>
    </p:spTree>
    <p:extLst>
      <p:ext uri="{BB962C8B-B14F-4D97-AF65-F5344CB8AC3E}">
        <p14:creationId xmlns:p14="http://schemas.microsoft.com/office/powerpoint/2010/main" val="26324221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title="CoVDP_IAI report_amc">
            <a:hlinkClick r:id="rId3" tooltip="Open 'CoVDP_IAI report_amc' in PowerBI"/>
            <a:extLst>
              <a:ext uri="{FF2B5EF4-FFF2-40B4-BE49-F238E27FC236}">
                <a16:creationId xmlns:a16="http://schemas.microsoft.com/office/drawing/2014/main" id="{0C4FACC9-21CB-07CB-AB85-E10E52857444}"/>
              </a:ext>
            </a:extLst>
          </p:cNvPr>
          <p:cNvPicPr>
            <a:picLocks noChangeAspect="1"/>
          </p:cNvPicPr>
          <p:nvPr>
            <p:custDataLst>
              <p:tags r:id="rId1"/>
            </p:custDataLst>
          </p:nvPr>
        </p:nvPicPr>
        <p:blipFill>
          <a:blip r:embed="rId4"/>
          <a:srcRect/>
          <a:stretch>
            <a:fillRect/>
          </a:stretch>
        </p:blipFill>
        <p:spPr>
          <a:xfrm>
            <a:off x="0" y="0"/>
            <a:ext cx="12192000" cy="6857999"/>
          </a:xfrm>
          <a:prstGeom prst="rect">
            <a:avLst/>
          </a:prstGeom>
        </p:spPr>
      </p:pic>
    </p:spTree>
    <p:extLst>
      <p:ext uri="{BB962C8B-B14F-4D97-AF65-F5344CB8AC3E}">
        <p14:creationId xmlns:p14="http://schemas.microsoft.com/office/powerpoint/2010/main" val="14216338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title="CoVDP_IAI report_amc">
            <a:hlinkClick r:id="rId3" tooltip="Open 'CoVDP_IAI report_amc' in PowerBI"/>
            <a:extLst>
              <a:ext uri="{FF2B5EF4-FFF2-40B4-BE49-F238E27FC236}">
                <a16:creationId xmlns:a16="http://schemas.microsoft.com/office/drawing/2014/main" id="{DEB2BF73-90E2-8041-5C07-D2EF3370A92B}"/>
              </a:ext>
            </a:extLst>
          </p:cNvPr>
          <p:cNvPicPr>
            <a:picLocks noChangeAspect="1"/>
          </p:cNvPicPr>
          <p:nvPr>
            <p:custDataLst>
              <p:tags r:id="rId1"/>
            </p:custDataLst>
          </p:nvPr>
        </p:nvPicPr>
        <p:blipFill>
          <a:blip r:embed="rId4"/>
          <a:srcRect/>
          <a:stretch>
            <a:fillRect/>
          </a:stretch>
        </p:blipFill>
        <p:spPr>
          <a:xfrm>
            <a:off x="0" y="0"/>
            <a:ext cx="12192000" cy="6857999"/>
          </a:xfrm>
          <a:prstGeom prst="rect">
            <a:avLst/>
          </a:prstGeom>
        </p:spPr>
      </p:pic>
    </p:spTree>
    <p:extLst>
      <p:ext uri="{BB962C8B-B14F-4D97-AF65-F5344CB8AC3E}">
        <p14:creationId xmlns:p14="http://schemas.microsoft.com/office/powerpoint/2010/main" val="10332646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AF7C2F-9214-F57F-0A5E-A4CA198FBF42}"/>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9AD1F206-E824-D5B4-F9E9-6A6A8624B19F}"/>
              </a:ext>
            </a:extLst>
          </p:cNvPr>
          <p:cNvSpPr>
            <a:spLocks noGrp="1"/>
          </p:cNvSpPr>
          <p:nvPr>
            <p:ph type="body" idx="1"/>
          </p:nvPr>
        </p:nvSpPr>
        <p:spPr/>
        <p:txBody>
          <a:bodyPr/>
          <a:lstStyle/>
          <a:p>
            <a:endParaRPr lang="en-US"/>
          </a:p>
        </p:txBody>
      </p:sp>
      <p:pic>
        <p:nvPicPr>
          <p:cNvPr id="5" name="Picture 4" descr="Chart, waterfall chart&#10;&#10;Description automatically generated">
            <a:extLst>
              <a:ext uri="{FF2B5EF4-FFF2-40B4-BE49-F238E27FC236}">
                <a16:creationId xmlns:a16="http://schemas.microsoft.com/office/drawing/2014/main" id="{AF960347-078F-0501-B0E1-44CDA7FBA67B}"/>
              </a:ext>
            </a:extLst>
          </p:cNvPr>
          <p:cNvPicPr>
            <a:picLocks noChangeAspect="1"/>
          </p:cNvPicPr>
          <p:nvPr/>
        </p:nvPicPr>
        <p:blipFill>
          <a:blip r:embed="rId2"/>
          <a:stretch>
            <a:fillRect/>
          </a:stretch>
        </p:blipFill>
        <p:spPr>
          <a:xfrm>
            <a:off x="1" y="0"/>
            <a:ext cx="12192000" cy="6858000"/>
          </a:xfrm>
          <a:prstGeom prst="rect">
            <a:avLst/>
          </a:prstGeom>
        </p:spPr>
      </p:pic>
    </p:spTree>
    <p:extLst>
      <p:ext uri="{BB962C8B-B14F-4D97-AF65-F5344CB8AC3E}">
        <p14:creationId xmlns:p14="http://schemas.microsoft.com/office/powerpoint/2010/main" val="42450886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HINKCELLPRESENTATIONDONOTDELETE" val="&lt;?xml version=&quot;1.0&quot; encoding=&quot;UTF-16&quot; standalone=&quot;yes&quot;?&gt;&lt;root reqver=&quot;25060&quot;&gt;&lt;version val=&quot;2809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EMPLATELASTEDITED" val="2021-03-05 07:1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SHAPENAME" val="5. Sourc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SHAPENAME" val="5. Sourc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27.xml><?xml version="1.0" encoding="utf-8"?>
<p:tagLst xmlns:a="http://schemas.openxmlformats.org/drawingml/2006/main" xmlns:r="http://schemas.openxmlformats.org/officeDocument/2006/relationships" xmlns:p="http://schemas.openxmlformats.org/presentationml/2006/main">
  <p:tag name="SHAPENAME" val="4. Footnote"/>
</p:tagLst>
</file>

<file path=ppt/tags/tag1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9.xml><?xml version="1.0" encoding="utf-8"?>
<p:tagLst xmlns:a="http://schemas.openxmlformats.org/drawingml/2006/main" xmlns:r="http://schemas.openxmlformats.org/officeDocument/2006/relationships" xmlns:p="http://schemas.openxmlformats.org/presentationml/2006/main">
  <p:tag name="NAME" val="ACET"/>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NAME" val="Moon"/>
</p:tagLst>
</file>

<file path=ppt/tags/tag131.xml><?xml version="1.0" encoding="utf-8"?>
<p:tagLst xmlns:a="http://schemas.openxmlformats.org/drawingml/2006/main" xmlns:r="http://schemas.openxmlformats.org/officeDocument/2006/relationships" xmlns:p="http://schemas.openxmlformats.org/presentationml/2006/main">
  <p:tag name="NAME" val="Moon"/>
</p:tagLst>
</file>

<file path=ppt/tags/tag132.xml><?xml version="1.0" encoding="utf-8"?>
<p:tagLst xmlns:a="http://schemas.openxmlformats.org/drawingml/2006/main" xmlns:r="http://schemas.openxmlformats.org/officeDocument/2006/relationships" xmlns:p="http://schemas.openxmlformats.org/presentationml/2006/main">
  <p:tag name="NAME" val="Moon"/>
</p:tagLst>
</file>

<file path=ppt/tags/tag133.xml><?xml version="1.0" encoding="utf-8"?>
<p:tagLst xmlns:a="http://schemas.openxmlformats.org/drawingml/2006/main" xmlns:r="http://schemas.openxmlformats.org/officeDocument/2006/relationships" xmlns:p="http://schemas.openxmlformats.org/presentationml/2006/main">
  <p:tag name="NAME" val="Moon"/>
</p:tagLst>
</file>

<file path=ppt/tags/tag134.xml><?xml version="1.0" encoding="utf-8"?>
<p:tagLst xmlns:a="http://schemas.openxmlformats.org/drawingml/2006/main" xmlns:r="http://schemas.openxmlformats.org/officeDocument/2006/relationships" xmlns:p="http://schemas.openxmlformats.org/presentationml/2006/main">
  <p:tag name="NAME" val="Moon"/>
</p:tagLst>
</file>

<file path=ppt/tags/tag135.xml><?xml version="1.0" encoding="utf-8"?>
<p:tagLst xmlns:a="http://schemas.openxmlformats.org/drawingml/2006/main" xmlns:r="http://schemas.openxmlformats.org/officeDocument/2006/relationships" xmlns:p="http://schemas.openxmlformats.org/presentationml/2006/main">
  <p:tag name="ANGLE" val="5"/>
</p:tagLst>
</file>

<file path=ppt/tags/tag136.xml><?xml version="1.0" encoding="utf-8"?>
<p:tagLst xmlns:a="http://schemas.openxmlformats.org/drawingml/2006/main" xmlns:r="http://schemas.openxmlformats.org/officeDocument/2006/relationships" xmlns:p="http://schemas.openxmlformats.org/presentationml/2006/main">
  <p:tag name="ANGLE" val="5"/>
</p:tagLst>
</file>

<file path=ppt/tags/tag137.xml><?xml version="1.0" encoding="utf-8"?>
<p:tagLst xmlns:a="http://schemas.openxmlformats.org/drawingml/2006/main" xmlns:r="http://schemas.openxmlformats.org/officeDocument/2006/relationships" xmlns:p="http://schemas.openxmlformats.org/presentationml/2006/main">
  <p:tag name="ANGLE" val="4"/>
</p:tagLst>
</file>

<file path=ppt/tags/tag138.xml><?xml version="1.0" encoding="utf-8"?>
<p:tagLst xmlns:a="http://schemas.openxmlformats.org/drawingml/2006/main" xmlns:r="http://schemas.openxmlformats.org/officeDocument/2006/relationships" xmlns:p="http://schemas.openxmlformats.org/presentationml/2006/main">
  <p:tag name="ANGLE" val="4"/>
</p:tagLst>
</file>

<file path=ppt/tags/tag139.xml><?xml version="1.0" encoding="utf-8"?>
<p:tagLst xmlns:a="http://schemas.openxmlformats.org/drawingml/2006/main" xmlns:r="http://schemas.openxmlformats.org/officeDocument/2006/relationships" xmlns:p="http://schemas.openxmlformats.org/presentationml/2006/main">
  <p:tag name="ANGLE" val="3"/>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ANGLE" val="3"/>
</p:tagLst>
</file>

<file path=ppt/tags/tag141.xml><?xml version="1.0" encoding="utf-8"?>
<p:tagLst xmlns:a="http://schemas.openxmlformats.org/drawingml/2006/main" xmlns:r="http://schemas.openxmlformats.org/officeDocument/2006/relationships" xmlns:p="http://schemas.openxmlformats.org/presentationml/2006/main">
  <p:tag name="ANGLE" val="2"/>
</p:tagLst>
</file>

<file path=ppt/tags/tag142.xml><?xml version="1.0" encoding="utf-8"?>
<p:tagLst xmlns:a="http://schemas.openxmlformats.org/drawingml/2006/main" xmlns:r="http://schemas.openxmlformats.org/officeDocument/2006/relationships" xmlns:p="http://schemas.openxmlformats.org/presentationml/2006/main">
  <p:tag name="ANGLE" val="2"/>
</p:tagLst>
</file>

<file path=ppt/tags/tag143.xml><?xml version="1.0" encoding="utf-8"?>
<p:tagLst xmlns:a="http://schemas.openxmlformats.org/drawingml/2006/main" xmlns:r="http://schemas.openxmlformats.org/officeDocument/2006/relationships" xmlns:p="http://schemas.openxmlformats.org/presentationml/2006/main">
  <p:tag name="ANGLE" val="1"/>
</p:tagLst>
</file>

<file path=ppt/tags/tag144.xml><?xml version="1.0" encoding="utf-8"?>
<p:tagLst xmlns:a="http://schemas.openxmlformats.org/drawingml/2006/main" xmlns:r="http://schemas.openxmlformats.org/officeDocument/2006/relationships" xmlns:p="http://schemas.openxmlformats.org/presentationml/2006/main">
  <p:tag name="ANGLE" val="1"/>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4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8.xml><?xml version="1.0" encoding="utf-8"?>
<p:tagLst xmlns:a="http://schemas.openxmlformats.org/drawingml/2006/main" xmlns:r="http://schemas.openxmlformats.org/officeDocument/2006/relationships" xmlns:p="http://schemas.openxmlformats.org/presentationml/2006/main">
  <p:tag name="SHAPENAME" val="Subtitle"/>
</p:tagLst>
</file>

<file path=ppt/tags/tag149.xml><?xml version="1.0" encoding="utf-8"?>
<p:tagLst xmlns:a="http://schemas.openxmlformats.org/drawingml/2006/main" xmlns:r="http://schemas.openxmlformats.org/officeDocument/2006/relationships" xmlns:p="http://schemas.openxmlformats.org/presentationml/2006/main">
  <p:tag name="SHAPENAME" val="Title"/>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5.xml><?xml version="1.0" encoding="utf-8"?>
<p:tagLst xmlns:a="http://schemas.openxmlformats.org/drawingml/2006/main" xmlns:r="http://schemas.openxmlformats.org/officeDocument/2006/relationships" xmlns:p="http://schemas.openxmlformats.org/presentationml/2006/main">
  <p:tag name="SHAPENAME" val="5. Source"/>
</p:tagLst>
</file>

<file path=ppt/tags/tag1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2.xml><?xml version="1.0" encoding="utf-8"?>
<p:tagLst xmlns:a="http://schemas.openxmlformats.org/drawingml/2006/main" xmlns:r="http://schemas.openxmlformats.org/officeDocument/2006/relationships" xmlns:p="http://schemas.openxmlformats.org/presentationml/2006/main">
  <p:tag name="SHAPENAME" val="5. Sourc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8.xml><?xml version="1.0" encoding="utf-8"?>
<p:tagLst xmlns:a="http://schemas.openxmlformats.org/drawingml/2006/main" xmlns:r="http://schemas.openxmlformats.org/officeDocument/2006/relationships" xmlns:p="http://schemas.openxmlformats.org/presentationml/2006/main">
  <p:tag name="SHAPENAME" val="5. Sourc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4.xml><?xml version="1.0" encoding="utf-8"?>
<p:tagLst xmlns:a="http://schemas.openxmlformats.org/drawingml/2006/main" xmlns:r="http://schemas.openxmlformats.org/officeDocument/2006/relationships" xmlns:p="http://schemas.openxmlformats.org/presentationml/2006/main">
  <p:tag name="SHAPENAME" val="5. Sourc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1.xml><?xml version="1.0" encoding="utf-8"?>
<p:tagLst xmlns:a="http://schemas.openxmlformats.org/drawingml/2006/main" xmlns:r="http://schemas.openxmlformats.org/officeDocument/2006/relationships" xmlns:p="http://schemas.openxmlformats.org/presentationml/2006/main">
  <p:tag name="SHAPENAME" val="5. Sourc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8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9.xml><?xml version="1.0" encoding="utf-8"?>
<p:tagLst xmlns:a="http://schemas.openxmlformats.org/drawingml/2006/main" xmlns:r="http://schemas.openxmlformats.org/officeDocument/2006/relationships" xmlns:p="http://schemas.openxmlformats.org/presentationml/2006/main">
  <p:tag name="SHAPENAME" val="5. Source"/>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7.xml><?xml version="1.0" encoding="utf-8"?>
<p:tagLst xmlns:a="http://schemas.openxmlformats.org/drawingml/2006/main" xmlns:r="http://schemas.openxmlformats.org/officeDocument/2006/relationships" xmlns:p="http://schemas.openxmlformats.org/presentationml/2006/main">
  <p:tag name="SHAPENAME" val="5. Sourc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0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5.xml><?xml version="1.0" encoding="utf-8"?>
<p:tagLst xmlns:a="http://schemas.openxmlformats.org/drawingml/2006/main" xmlns:r="http://schemas.openxmlformats.org/officeDocument/2006/relationships" xmlns:p="http://schemas.openxmlformats.org/presentationml/2006/main">
  <p:tag name="SHAPENAME" val="5. Sourc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3.xml><?xml version="1.0" encoding="utf-8"?>
<p:tagLst xmlns:a="http://schemas.openxmlformats.org/drawingml/2006/main" xmlns:r="http://schemas.openxmlformats.org/officeDocument/2006/relationships" xmlns:p="http://schemas.openxmlformats.org/presentationml/2006/main">
  <p:tag name="SHAPENAME" val="5. Sourc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1.xml><?xml version="1.0" encoding="utf-8"?>
<p:tagLst xmlns:a="http://schemas.openxmlformats.org/drawingml/2006/main" xmlns:r="http://schemas.openxmlformats.org/officeDocument/2006/relationships" xmlns:p="http://schemas.openxmlformats.org/presentationml/2006/main">
  <p:tag name="SHAPENAME" val="5. Sourc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7.xml><?xml version="1.0" encoding="utf-8"?>
<p:tagLst xmlns:a="http://schemas.openxmlformats.org/drawingml/2006/main" xmlns:r="http://schemas.openxmlformats.org/officeDocument/2006/relationships" xmlns:p="http://schemas.openxmlformats.org/presentationml/2006/main">
  <p:tag name="SHAPENAME" val="5. Sourc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1.xml><?xml version="1.0" encoding="utf-8"?>
<p:tagLst xmlns:a="http://schemas.openxmlformats.org/drawingml/2006/main" xmlns:r="http://schemas.openxmlformats.org/officeDocument/2006/relationships" xmlns:p="http://schemas.openxmlformats.org/presentationml/2006/main">
  <p:tag name="SHAPENAME" val="5. Sourc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2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0.xml><?xml version="1.0" encoding="utf-8"?>
<p:tagLst xmlns:a="http://schemas.openxmlformats.org/drawingml/2006/main" xmlns:r="http://schemas.openxmlformats.org/officeDocument/2006/relationships" xmlns:p="http://schemas.openxmlformats.org/presentationml/2006/main">
  <p:tag name="SLIDETYPE" val="TitleWhi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aXr8WAgv0cG5g7IkN2Kntg"/>
</p:tagLst>
</file>

<file path=ppt/tags/tag243.xml><?xml version="1.0" encoding="utf-8"?>
<p:tagLst xmlns:a="http://schemas.openxmlformats.org/drawingml/2006/main" xmlns:r="http://schemas.openxmlformats.org/officeDocument/2006/relationships" xmlns:p="http://schemas.openxmlformats.org/presentationml/2006/main">
  <p:tag name="SHAPENAME" val="Subtitle"/>
</p:tagLst>
</file>

<file path=ppt/tags/tag244.xml><?xml version="1.0" encoding="utf-8"?>
<p:tagLst xmlns:a="http://schemas.openxmlformats.org/drawingml/2006/main" xmlns:r="http://schemas.openxmlformats.org/officeDocument/2006/relationships" xmlns:p="http://schemas.openxmlformats.org/presentationml/2006/main">
  <p:tag name="SHAPENAME" val="Titl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DEVSCOPEPBISMARTSHAPES.TAG" val="{&quot;Id&quot;:&quot;cff722b53b094fb58a9c07840ac06b30&quot;,&quot;CaptureId&quot;:null,&quot;Name&quot;:&quot;CoVDP_IAI report_amc&quot;,&quot;Description&quot;:null,&quot;DoNotIncludeHyperlinkToPbi&quot;:false,&quot;PbiElement&quot;:{&quot;ElementType&quot;:3,&quot;Page&quot;:{&quot;Name&quot;:&quot;ReportSection236d0e62496883c667bf&quot;,&quot;DisplayName&quot;:&quot;amc_sum_key&quot;,&quot;Visuals&quot;:null,&quot;SavedFilters&quot;:null,&quot;FilterSettings&quot;:null},&quot;SavedBookmark&quot;:null,&quot;SelectedBookmark&quot;:null,&quot;BaseSlicers&quot;:null,&quot;SavedSlicers&quot;:null,&quot;Name&quot;:&quot;CoVDP_IAI report_amc&quot;,&quot;Id&quot;:&quot;6f5b9871-1fe8-4132-90a6-2e12aab0d75d&quot;,&quot;Title&quot;:&quot;CoVDP_IAI report_amc&quot;,&quot;EmbedUrl&quot;:&quot;https://app.powerbi.com/reportEmbed?reportId=6f5b9871-1fe8-4132-90a6-2e12aab0d75d&amp;groupId=74edb552-9095-494d-bb31-abbedd32af99&amp;w=2&amp;config=eyJjbHVzdGVyVXJsIjoiaHR0cHM6Ly9XQUJJLU5PUlRILUVVUk9QRS1HLVBSSU1BUlktcmVkaXJlY3QuYW5hbHlzaXMud2luZG93cy5uZXQiLCJlbWJlZEZlYXR1cmVzIjp7Im1vZGVybkVtYmVkIjp0cnVlLCJ1c2FnZU1ldHJpY3NWTmV4dCI6dHJ1ZSwic2tpcFF1ZXJ5RGF0YVNhYVNFbWJlZCI6dHJ1ZSwic2tpcFF1ZXJ5RGF0YVBhYVNFbWJlZCI6dHJ1ZSwic2tpcFF1ZXJ5RGF0YUV4cG9ydFRvIjp0cnVlfX0%3d&quot;,&quot;WebUrl&quot;:&quot;https://app.powerbi.com/groups/74edb552-9095-494d-bb31-abbedd32af99/reports/6f5b9871-1fe8-4132-90a6-2e12aab0d75d&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920, 1080&quot;,&quot;LastRenderScale&quot;:2.0,&quot;LastRenderStatus&quot;:5,&quot;LastRenderStatusMessage&quot;:&quot;&quot;},&quot;ShapeType&quot;:0,&quot;ShapeWidth&quot;:2560,&quot;ShapeHeight&quot;:1439}"/>
</p:tagLst>
</file>

<file path=ppt/tags/tag248.xml><?xml version="1.0" encoding="utf-8"?>
<p:tagLst xmlns:a="http://schemas.openxmlformats.org/drawingml/2006/main" xmlns:r="http://schemas.openxmlformats.org/officeDocument/2006/relationships" xmlns:p="http://schemas.openxmlformats.org/presentationml/2006/main">
  <p:tag name="DEVSCOPEPBISMARTSHAPES.TAG" val="{&quot;Id&quot;:&quot;76a991cb212648a28dd192edbc2cf099&quot;,&quot;CaptureId&quot;:null,&quot;Name&quot;:&quot;CoVDP_IAI report_amc&quot;,&quot;Description&quot;:null,&quot;DoNotIncludeHyperlinkToPbi&quot;:false,&quot;PbiElement&quot;:{&quot;ElementType&quot;:3,&quot;Page&quot;:{&quot;Name&quot;:&quot;ReportSection7571688c0fd67f6a82c7&quot;,&quot;DisplayName&quot;:&quot;amc_sum_list_1&quot;,&quot;Visuals&quot;:null,&quot;SavedFilters&quot;:null,&quot;FilterSettings&quot;:null},&quot;SavedBookmark&quot;:null,&quot;SelectedBookmark&quot;:null,&quot;BaseSlicers&quot;:null,&quot;SavedSlicers&quot;:null,&quot;Name&quot;:&quot;CoVDP_IAI report_amc&quot;,&quot;Id&quot;:&quot;6f5b9871-1fe8-4132-90a6-2e12aab0d75d&quot;,&quot;Title&quot;:&quot;CoVDP_IAI report_amc&quot;,&quot;EmbedUrl&quot;:&quot;https://app.powerbi.com/reportEmbed?reportId=6f5b9871-1fe8-4132-90a6-2e12aab0d75d&amp;groupId=74edb552-9095-494d-bb31-abbedd32af99&amp;w=2&amp;config=eyJjbHVzdGVyVXJsIjoiaHR0cHM6Ly9XQUJJLU5PUlRILUVVUk9QRS1HLVBSSU1BUlktcmVkaXJlY3QuYW5hbHlzaXMud2luZG93cy5uZXQiLCJlbWJlZEZlYXR1cmVzIjp7Im1vZGVybkVtYmVkIjp0cnVlLCJ1c2FnZU1ldHJpY3NWTmV4dCI6dHJ1ZSwic2tpcFF1ZXJ5RGF0YVNhYVNFbWJlZCI6dHJ1ZSwic2tpcFF1ZXJ5RGF0YVBhYVNFbWJlZCI6dHJ1ZSwic2tpcFF1ZXJ5RGF0YUV4cG9ydFRvIjp0cnVlfX0%3d&quot;,&quot;WebUrl&quot;:&quot;https://app.powerbi.com/groups/74edb552-9095-494d-bb31-abbedd32af99/reports/6f5b9871-1fe8-4132-90a6-2e12aab0d75d&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920, 1080&quot;,&quot;LastRenderScale&quot;:2.0,&quot;LastRenderStatus&quot;:5,&quot;LastRenderStatusMessage&quot;:&quot;&quot;},&quot;ShapeType&quot;:0,&quot;ShapeWidth&quot;:2560,&quot;ShapeHeight&quot;:1439}"/>
</p:tagLst>
</file>

<file path=ppt/tags/tag249.xml><?xml version="1.0" encoding="utf-8"?>
<p:tagLst xmlns:a="http://schemas.openxmlformats.org/drawingml/2006/main" xmlns:r="http://schemas.openxmlformats.org/officeDocument/2006/relationships" xmlns:p="http://schemas.openxmlformats.org/presentationml/2006/main">
  <p:tag name="DEVSCOPEPBISMARTSHAPES.TAG" val="{&quot;Id&quot;:&quot;214e99d8478848448a49f3230ca3b5cb&quot;,&quot;CaptureId&quot;:null,&quot;Name&quot;:&quot;CoVDP_IAI report_amc&quot;,&quot;Description&quot;:null,&quot;DoNotIncludeHyperlinkToPbi&quot;:false,&quot;PbiElement&quot;:{&quot;ElementType&quot;:3,&quot;Page&quot;:{&quot;Name&quot;:&quot;ReportSection0948e412ba27f1082ce0&quot;,&quot;DisplayName&quot;:&quot;amc_sum_list_2&quot;,&quot;Visuals&quot;:null,&quot;SavedFilters&quot;:null,&quot;FilterSettings&quot;:null},&quot;SavedBookmark&quot;:null,&quot;SelectedBookmark&quot;:null,&quot;BaseSlicers&quot;:null,&quot;SavedSlicers&quot;:null,&quot;Name&quot;:&quot;CoVDP_IAI report_amc&quot;,&quot;Id&quot;:&quot;6f5b9871-1fe8-4132-90a6-2e12aab0d75d&quot;,&quot;Title&quot;:&quot;CoVDP_IAI report_amc&quot;,&quot;EmbedUrl&quot;:&quot;https://app.powerbi.com/reportEmbed?reportId=6f5b9871-1fe8-4132-90a6-2e12aab0d75d&amp;groupId=74edb552-9095-494d-bb31-abbedd32af99&amp;w=2&amp;config=eyJjbHVzdGVyVXJsIjoiaHR0cHM6Ly9XQUJJLU5PUlRILUVVUk9QRS1HLVBSSU1BUlktcmVkaXJlY3QuYW5hbHlzaXMud2luZG93cy5uZXQiLCJlbWJlZEZlYXR1cmVzIjp7Im1vZGVybkVtYmVkIjp0cnVlLCJ1c2FnZU1ldHJpY3NWTmV4dCI6dHJ1ZSwic2tpcFF1ZXJ5RGF0YVNhYVNFbWJlZCI6dHJ1ZSwic2tpcFF1ZXJ5RGF0YVBhYVNFbWJlZCI6dHJ1ZSwic2tpcFF1ZXJ5RGF0YUV4cG9ydFRvIjp0cnVlfX0%3d&quot;,&quot;WebUrl&quot;:&quot;https://app.powerbi.com/groups/74edb552-9095-494d-bb31-abbedd32af99/reports/6f5b9871-1fe8-4132-90a6-2e12aab0d75d&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920, 1080&quot;,&quot;LastRenderScale&quot;:2.0,&quot;LastRenderStatus&quot;:5,&quot;LastRenderStatusMessage&quot;:&quot;&quot;},&quot;ShapeType&quot;:0,&quot;ShapeWidth&quot;:2560,&quot;ShapeHeight&quot;:1439}"/>
</p:tagLst>
</file>

<file path=ppt/tags/tag25.xml><?xml version="1.0" encoding="utf-8"?>
<p:tagLst xmlns:a="http://schemas.openxmlformats.org/drawingml/2006/main" xmlns:r="http://schemas.openxmlformats.org/officeDocument/2006/relationships" xmlns:p="http://schemas.openxmlformats.org/presentationml/2006/main">
  <p:tag name="SHAPENAME" val="Subtitle"/>
</p:tagLst>
</file>

<file path=ppt/tags/tag250.xml><?xml version="1.0" encoding="utf-8"?>
<p:tagLst xmlns:a="http://schemas.openxmlformats.org/drawingml/2006/main" xmlns:r="http://schemas.openxmlformats.org/officeDocument/2006/relationships" xmlns:p="http://schemas.openxmlformats.org/presentationml/2006/main">
  <p:tag name="DEVSCOPEPBISMARTSHAPES.TAG" val="{&quot;Id&quot;:&quot;63550a8a3f174c688b4787e745d01c98&quot;,&quot;CaptureId&quot;:null,&quot;Name&quot;:&quot;CoVDP_IAI report_amc&quot;,&quot;Description&quot;:null,&quot;DoNotIncludeHyperlinkToPbi&quot;:false,&quot;PbiElement&quot;:{&quot;ElementType&quot;:3,&quot;Page&quot;:{&quot;Name&quot;:&quot;ReportSection6ca464d1b6bc5966648f&quot;,&quot;DisplayName&quot;:&quot;amc_sum_list_3&quot;,&quot;Visuals&quot;:null,&quot;SavedFilters&quot;:null,&quot;FilterSettings&quot;:null},&quot;SavedBookmark&quot;:null,&quot;SelectedBookmark&quot;:null,&quot;BaseSlicers&quot;:null,&quot;SavedSlicers&quot;:null,&quot;Name&quot;:&quot;CoVDP_IAI report_amc&quot;,&quot;Id&quot;:&quot;6f5b9871-1fe8-4132-90a6-2e12aab0d75d&quot;,&quot;Title&quot;:&quot;CoVDP_IAI report_amc&quot;,&quot;EmbedUrl&quot;:&quot;https://app.powerbi.com/reportEmbed?reportId=6f5b9871-1fe8-4132-90a6-2e12aab0d75d&amp;groupId=74edb552-9095-494d-bb31-abbedd32af99&amp;w=2&amp;config=eyJjbHVzdGVyVXJsIjoiaHR0cHM6Ly9XQUJJLU5PUlRILUVVUk9QRS1HLVBSSU1BUlktcmVkaXJlY3QuYW5hbHlzaXMud2luZG93cy5uZXQiLCJlbWJlZEZlYXR1cmVzIjp7Im1vZGVybkVtYmVkIjp0cnVlLCJ1c2FnZU1ldHJpY3NWTmV4dCI6dHJ1ZSwic2tpcFF1ZXJ5RGF0YVNhYVNFbWJlZCI6dHJ1ZSwic2tpcFF1ZXJ5RGF0YVBhYVNFbWJlZCI6dHJ1ZSwic2tpcFF1ZXJ5RGF0YUV4cG9ydFRvIjp0cnVlfX0%3d&quot;,&quot;WebUrl&quot;:&quot;https://app.powerbi.com/groups/74edb552-9095-494d-bb31-abbedd32af99/reports/6f5b9871-1fe8-4132-90a6-2e12aab0d75d&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920, 1080&quot;,&quot;LastRenderScale&quot;:2.0,&quot;LastRenderStatus&quot;:5,&quot;LastRenderStatusMessage&quot;:&quot;&quot;},&quot;ShapeType&quot;:0,&quot;ShapeWidth&quot;:2560,&quot;ShapeHeight&quot;:1439}"/>
</p:tagLst>
</file>

<file path=ppt/tags/tag251.xml><?xml version="1.0" encoding="utf-8"?>
<p:tagLst xmlns:a="http://schemas.openxmlformats.org/drawingml/2006/main" xmlns:r="http://schemas.openxmlformats.org/officeDocument/2006/relationships" xmlns:p="http://schemas.openxmlformats.org/presentationml/2006/main">
  <p:tag name="DEVSCOPEPBISMARTSHAPES.TAG" val="{&quot;Id&quot;:&quot;221c0585d9ae450db11e11daa1158efb&quot;,&quot;CaptureId&quot;:null,&quot;Name&quot;:&quot;CoVDP_IAI report_amc&quot;,&quot;Description&quot;:null,&quot;DoNotIncludeHyperlinkToPbi&quot;:false,&quot;PbiElement&quot;:{&quot;ElementType&quot;:3,&quot;Page&quot;:{&quot;Name&quot;:&quot;ReportSection7e3878268f291755d4d1&quot;,&quot;DisplayName&quot;:&quot;amc_sum_comp_all&quot;,&quot;Visuals&quot;:null,&quot;SavedFilters&quot;:null,&quot;FilterSettings&quot;:null},&quot;SavedBookmark&quot;:null,&quot;SelectedBookmark&quot;:null,&quot;BaseSlicers&quot;:null,&quot;SavedSlicers&quot;:null,&quot;Name&quot;:&quot;CoVDP_IAI report_amc&quot;,&quot;Id&quot;:&quot;6f5b9871-1fe8-4132-90a6-2e12aab0d75d&quot;,&quot;Title&quot;:&quot;CoVDP_IAI report_amc&quot;,&quot;EmbedUrl&quot;:&quot;https://app.powerbi.com/reportEmbed?reportId=6f5b9871-1fe8-4132-90a6-2e12aab0d75d&amp;groupId=74edb552-9095-494d-bb31-abbedd32af99&amp;w=2&amp;config=eyJjbHVzdGVyVXJsIjoiaHR0cHM6Ly9XQUJJLU5PUlRILUVVUk9QRS1HLVBSSU1BUlktcmVkaXJlY3QuYW5hbHlzaXMud2luZG93cy5uZXQiLCJlbWJlZEZlYXR1cmVzIjp7Im1vZGVybkVtYmVkIjp0cnVlLCJ1c2FnZU1ldHJpY3NWTmV4dCI6dHJ1ZSwic2tpcFF1ZXJ5RGF0YVNhYVNFbWJlZCI6dHJ1ZSwic2tpcFF1ZXJ5RGF0YVBhYVNFbWJlZCI6dHJ1ZSwic2tpcFF1ZXJ5RGF0YUV4cG9ydFRvIjp0cnVlfX0%3d&quot;,&quot;WebUrl&quot;:&quot;https://app.powerbi.com/groups/74edb552-9095-494d-bb31-abbedd32af99/reports/6f5b9871-1fe8-4132-90a6-2e12aab0d75d&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920, 1080&quot;,&quot;LastRenderScale&quot;:2.0,&quot;LastRenderStatus&quot;:5,&quot;LastRenderStatusMessage&quot;:&quot;&quot;},&quot;ShapeType&quot;:0,&quot;ShapeWidth&quot;:2560,&quot;ShapeHeight&quot;:1439}"/>
</p:tagLst>
</file>

<file path=ppt/tags/tag252.xml><?xml version="1.0" encoding="utf-8"?>
<p:tagLst xmlns:a="http://schemas.openxmlformats.org/drawingml/2006/main" xmlns:r="http://schemas.openxmlformats.org/officeDocument/2006/relationships" xmlns:p="http://schemas.openxmlformats.org/presentationml/2006/main">
  <p:tag name="DEVSCOPEPBISMARTSHAPES.TAG" val="{&quot;Id&quot;:&quot;2b4f30d93d82481bb8d2e53e92e745ea&quot;,&quot;CaptureId&quot;:null,&quot;Name&quot;:&quot;CoVDP_IAI report_amc&quot;,&quot;Description&quot;:null,&quot;DoNotIncludeHyperlinkToPbi&quot;:false,&quot;PbiElement&quot;:{&quot;ElementType&quot;:3,&quot;Page&quot;:{&quot;Name&quot;:&quot;ReportSectionf125562a66ae0adf96b9&quot;,&quot;DisplayName&quot;:&quot;amc_cov_tot_overview&quot;,&quot;Visuals&quot;:null,&quot;SavedFilters&quot;:null,&quot;FilterSettings&quot;:null},&quot;SavedBookmark&quot;:null,&quot;SelectedBookmark&quot;:null,&quot;BaseSlicers&quot;:null,&quot;SavedSlicers&quot;:null,&quot;Name&quot;:&quot;CoVDP_IAI report_amc&quot;,&quot;Id&quot;:&quot;6f5b9871-1fe8-4132-90a6-2e12aab0d75d&quot;,&quot;Title&quot;:&quot;CoVDP_IAI report_amc&quot;,&quot;EmbedUrl&quot;:&quot;https://app.powerbi.com/reportEmbed?reportId=6f5b9871-1fe8-4132-90a6-2e12aab0d75d&amp;groupId=74edb552-9095-494d-bb31-abbedd32af99&amp;w=2&amp;config=eyJjbHVzdGVyVXJsIjoiaHR0cHM6Ly9XQUJJLU5PUlRILUVVUk9QRS1HLVBSSU1BUlktcmVkaXJlY3QuYW5hbHlzaXMud2luZG93cy5uZXQiLCJlbWJlZEZlYXR1cmVzIjp7Im1vZGVybkVtYmVkIjp0cnVlLCJ1c2FnZU1ldHJpY3NWTmV4dCI6dHJ1ZSwic2tpcFF1ZXJ5RGF0YVNhYVNFbWJlZCI6dHJ1ZSwic2tpcFF1ZXJ5RGF0YVBhYVNFbWJlZCI6dHJ1ZSwic2tpcFF1ZXJ5RGF0YUV4cG9ydFRvIjp0cnVlfX0%3d&quot;,&quot;WebUrl&quot;:&quot;https://app.powerbi.com/groups/74edb552-9095-494d-bb31-abbedd32af99/reports/6f5b9871-1fe8-4132-90a6-2e12aab0d75d&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920, 1080&quot;,&quot;LastRenderScale&quot;:2.0,&quot;LastRenderStatus&quot;:5,&quot;LastRenderStatusMessage&quot;:&quot;&quot;},&quot;ShapeType&quot;:0,&quot;ShapeWidth&quot;:2560,&quot;ShapeHeight&quot;:1439}"/>
</p:tagLst>
</file>

<file path=ppt/tags/tag253.xml><?xml version="1.0" encoding="utf-8"?>
<p:tagLst xmlns:a="http://schemas.openxmlformats.org/drawingml/2006/main" xmlns:r="http://schemas.openxmlformats.org/officeDocument/2006/relationships" xmlns:p="http://schemas.openxmlformats.org/presentationml/2006/main">
  <p:tag name="DEVSCOPEPBISMARTSHAPES.TAG" val="{&quot;Id&quot;:&quot;4c14c0bd210e43f083172e55ec686d52&quot;,&quot;CaptureId&quot;:null,&quot;Name&quot;:&quot;CoVDP_IAI report_amc&quot;,&quot;Description&quot;:null,&quot;DoNotIncludeHyperlinkToPbi&quot;:false,&quot;PbiElement&quot;:{&quot;ElementType&quot;:3,&quot;Page&quot;:{&quot;Name&quot;:&quot;ReportSection990105f2058f6381d22e&quot;,&quot;DisplayName&quot;:&quot;amc_cov_tot_comp&quot;,&quot;Visuals&quot;:null,&quot;SavedFilters&quot;:null,&quot;FilterSettings&quot;:null},&quot;SavedBookmark&quot;:null,&quot;SelectedBookmark&quot;:null,&quot;BaseSlicers&quot;:null,&quot;SavedSlicers&quot;:null,&quot;Name&quot;:&quot;CoVDP_IAI report_amc&quot;,&quot;Id&quot;:&quot;6f5b9871-1fe8-4132-90a6-2e12aab0d75d&quot;,&quot;Title&quot;:&quot;CoVDP_IAI report_amc&quot;,&quot;EmbedUrl&quot;:&quot;https://app.powerbi.com/reportEmbed?reportId=6f5b9871-1fe8-4132-90a6-2e12aab0d75d&amp;groupId=74edb552-9095-494d-bb31-abbedd32af99&amp;w=2&amp;config=eyJjbHVzdGVyVXJsIjoiaHR0cHM6Ly9XQUJJLU5PUlRILUVVUk9QRS1HLVBSSU1BUlktcmVkaXJlY3QuYW5hbHlzaXMud2luZG93cy5uZXQiLCJlbWJlZEZlYXR1cmVzIjp7Im1vZGVybkVtYmVkIjp0cnVlLCJ1c2FnZU1ldHJpY3NWTmV4dCI6dHJ1ZSwic2tpcFF1ZXJ5RGF0YVNhYVNFbWJlZCI6dHJ1ZSwic2tpcFF1ZXJ5RGF0YVBhYVNFbWJlZCI6dHJ1ZSwic2tpcFF1ZXJ5RGF0YUV4cG9ydFRvIjp0cnVlfX0%3d&quot;,&quot;WebUrl&quot;:&quot;https://app.powerbi.com/groups/74edb552-9095-494d-bb31-abbedd32af99/reports/6f5b9871-1fe8-4132-90a6-2e12aab0d75d&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920, 1080&quot;,&quot;LastRenderScale&quot;:2.0,&quot;LastRenderStatus&quot;:5,&quot;LastRenderStatusMessage&quot;:&quot;&quot;},&quot;ShapeType&quot;:0,&quot;ShapeWidth&quot;:2560,&quot;ShapeHeight&quot;:1439}"/>
</p:tagLst>
</file>

<file path=ppt/tags/tag254.xml><?xml version="1.0" encoding="utf-8"?>
<p:tagLst xmlns:a="http://schemas.openxmlformats.org/drawingml/2006/main" xmlns:r="http://schemas.openxmlformats.org/officeDocument/2006/relationships" xmlns:p="http://schemas.openxmlformats.org/presentationml/2006/main">
  <p:tag name="DEVSCOPEPBISMARTSHAPES.TAG" val="{&quot;Id&quot;:&quot;25b8196f827c48ff8edffd9b7ab49f64&quot;,&quot;CaptureId&quot;:null,&quot;Name&quot;:&quot;CoVDP_IAI report_amc&quot;,&quot;Description&quot;:null,&quot;DoNotIncludeHyperlinkToPbi&quot;:false,&quot;PbiElement&quot;:{&quot;ElementType&quot;:3,&quot;Page&quot;:{&quot;Name&quot;:&quot;ReportSection5c134b8f4692621dc755&quot;,&quot;DisplayName&quot;:&quot;amc_cov_tot_disag&quot;,&quot;Visuals&quot;:null,&quot;SavedFilters&quot;:null,&quot;FilterSettings&quot;:null},&quot;SavedBookmark&quot;:null,&quot;SelectedBookmark&quot;:null,&quot;BaseSlicers&quot;:null,&quot;SavedSlicers&quot;:null,&quot;Name&quot;:&quot;CoVDP_IAI report_amc&quot;,&quot;Id&quot;:&quot;6f5b9871-1fe8-4132-90a6-2e12aab0d75d&quot;,&quot;Title&quot;:&quot;CoVDP_IAI report_amc&quot;,&quot;EmbedUrl&quot;:&quot;https://app.powerbi.com/reportEmbed?reportId=6f5b9871-1fe8-4132-90a6-2e12aab0d75d&amp;groupId=74edb552-9095-494d-bb31-abbedd32af99&amp;w=2&amp;config=eyJjbHVzdGVyVXJsIjoiaHR0cHM6Ly9XQUJJLU5PUlRILUVVUk9QRS1HLVBSSU1BUlktcmVkaXJlY3QuYW5hbHlzaXMud2luZG93cy5uZXQiLCJlbWJlZEZlYXR1cmVzIjp7Im1vZGVybkVtYmVkIjp0cnVlLCJ1c2FnZU1ldHJpY3NWTmV4dCI6dHJ1ZSwic2tpcFF1ZXJ5RGF0YVNhYVNFbWJlZCI6dHJ1ZSwic2tpcFF1ZXJ5RGF0YVBhYVNFbWJlZCI6dHJ1ZSwic2tpcFF1ZXJ5RGF0YUV4cG9ydFRvIjp0cnVlfX0%3d&quot;,&quot;WebUrl&quot;:&quot;https://app.powerbi.com/groups/74edb552-9095-494d-bb31-abbedd32af99/reports/6f5b9871-1fe8-4132-90a6-2e12aab0d75d&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920, 1080&quot;,&quot;LastRenderScale&quot;:2.0,&quot;LastRenderStatus&quot;:5,&quot;LastRenderStatusMessage&quot;:&quot;&quot;},&quot;ShapeType&quot;:0,&quot;ShapeWidth&quot;:2560,&quot;ShapeHeight&quot;:1439}"/>
</p:tagLst>
</file>

<file path=ppt/tags/tag255.xml><?xml version="1.0" encoding="utf-8"?>
<p:tagLst xmlns:a="http://schemas.openxmlformats.org/drawingml/2006/main" xmlns:r="http://schemas.openxmlformats.org/officeDocument/2006/relationships" xmlns:p="http://schemas.openxmlformats.org/presentationml/2006/main">
  <p:tag name="DEVSCOPEPBISMARTSHAPES.TAG" val="{&quot;Id&quot;:&quot;f42eeb2b98bc4792acf71dbc0e7fb214&quot;,&quot;CaptureId&quot;:null,&quot;Name&quot;:&quot;CoVDP_IAI report_amc&quot;,&quot;Description&quot;:null,&quot;DoNotIncludeHyperlinkToPbi&quot;:false,&quot;PbiElement&quot;:{&quot;ElementType&quot;:3,&quot;Page&quot;:{&quot;Name&quot;:&quot;ReportSection80f5df6e2c15cca7e7ce&quot;,&quot;DisplayName&quot;:&quot;amc_cov_hcw_overview&quot;,&quot;Visuals&quot;:null,&quot;SavedFilters&quot;:null,&quot;FilterSettings&quot;:null},&quot;SavedBookmark&quot;:null,&quot;SelectedBookmark&quot;:null,&quot;BaseSlicers&quot;:null,&quot;SavedSlicers&quot;:null,&quot;Name&quot;:&quot;CoVDP_IAI report_amc&quot;,&quot;Id&quot;:&quot;6f5b9871-1fe8-4132-90a6-2e12aab0d75d&quot;,&quot;Title&quot;:&quot;CoVDP_IAI report_amc&quot;,&quot;EmbedUrl&quot;:&quot;https://app.powerbi.com/reportEmbed?reportId=6f5b9871-1fe8-4132-90a6-2e12aab0d75d&amp;groupId=74edb552-9095-494d-bb31-abbedd32af99&amp;w=2&amp;config=eyJjbHVzdGVyVXJsIjoiaHR0cHM6Ly9XQUJJLU5PUlRILUVVUk9QRS1HLVBSSU1BUlktcmVkaXJlY3QuYW5hbHlzaXMud2luZG93cy5uZXQiLCJlbWJlZEZlYXR1cmVzIjp7Im1vZGVybkVtYmVkIjp0cnVlLCJ1c2FnZU1ldHJpY3NWTmV4dCI6dHJ1ZSwic2tpcFF1ZXJ5RGF0YVNhYVNFbWJlZCI6dHJ1ZSwic2tpcFF1ZXJ5RGF0YVBhYVNFbWJlZCI6dHJ1ZSwic2tpcFF1ZXJ5RGF0YUV4cG9ydFRvIjp0cnVlfX0%3d&quot;,&quot;WebUrl&quot;:&quot;https://app.powerbi.com/groups/74edb552-9095-494d-bb31-abbedd32af99/reports/6f5b9871-1fe8-4132-90a6-2e12aab0d75d&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920, 1080&quot;,&quot;LastRenderScale&quot;:2.0,&quot;LastRenderStatus&quot;:5,&quot;LastRenderStatusMessage&quot;:&quot;&quot;},&quot;ShapeType&quot;:0,&quot;ShapeWidth&quot;:2560,&quot;ShapeHeight&quot;:1439}"/>
</p:tagLst>
</file>

<file path=ppt/tags/tag256.xml><?xml version="1.0" encoding="utf-8"?>
<p:tagLst xmlns:a="http://schemas.openxmlformats.org/drawingml/2006/main" xmlns:r="http://schemas.openxmlformats.org/officeDocument/2006/relationships" xmlns:p="http://schemas.openxmlformats.org/presentationml/2006/main">
  <p:tag name="DEVSCOPEPBISMARTSHAPES.TAG" val="{&quot;Id&quot;:&quot;ddd8ee26eafe44fdab970d1d6245f3a2&quot;,&quot;CaptureId&quot;:null,&quot;Name&quot;:&quot;CoVDP_IAI report_amc&quot;,&quot;Description&quot;:null,&quot;DoNotIncludeHyperlinkToPbi&quot;:false,&quot;PbiElement&quot;:{&quot;ElementType&quot;:3,&quot;Page&quot;:{&quot;Name&quot;:&quot;ReportSectiona75c73f9d3e1eb902a81&quot;,&quot;DisplayName&quot;:&quot;amc_cov_hcw_scatter&quot;,&quot;Visuals&quot;:null,&quot;SavedFilters&quot;:null,&quot;FilterSettings&quot;:null},&quot;SavedBookmark&quot;:null,&quot;SelectedBookmark&quot;:null,&quot;BaseSlicers&quot;:null,&quot;SavedSlicers&quot;:null,&quot;Name&quot;:&quot;CoVDP_IAI report_amc&quot;,&quot;Id&quot;:&quot;6f5b9871-1fe8-4132-90a6-2e12aab0d75d&quot;,&quot;Title&quot;:&quot;CoVDP_IAI report_amc&quot;,&quot;EmbedUrl&quot;:&quot;https://app.powerbi.com/reportEmbed?reportId=6f5b9871-1fe8-4132-90a6-2e12aab0d75d&amp;groupId=74edb552-9095-494d-bb31-abbedd32af99&amp;w=2&amp;config=eyJjbHVzdGVyVXJsIjoiaHR0cHM6Ly9XQUJJLU5PUlRILUVVUk9QRS1HLVBSSU1BUlktcmVkaXJlY3QuYW5hbHlzaXMud2luZG93cy5uZXQiLCJlbWJlZEZlYXR1cmVzIjp7Im1vZGVybkVtYmVkIjp0cnVlLCJ1c2FnZU1ldHJpY3NWTmV4dCI6dHJ1ZSwic2tpcFF1ZXJ5RGF0YVNhYVNFbWJlZCI6dHJ1ZSwic2tpcFF1ZXJ5RGF0YVBhYVNFbWJlZCI6dHJ1ZSwic2tpcFF1ZXJ5RGF0YUV4cG9ydFRvIjp0cnVlfX0%3d&quot;,&quot;WebUrl&quot;:&quot;https://app.powerbi.com/groups/74edb552-9095-494d-bb31-abbedd32af99/reports/6f5b9871-1fe8-4132-90a6-2e12aab0d75d&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920, 1080&quot;,&quot;LastRenderScale&quot;:2.0,&quot;LastRenderStatus&quot;:5,&quot;LastRenderStatusMessage&quot;:&quot;&quot;},&quot;ShapeType&quot;:0,&quot;ShapeWidth&quot;:2560,&quot;ShapeHeight&quot;:1439}"/>
</p:tagLst>
</file>

<file path=ppt/tags/tag257.xml><?xml version="1.0" encoding="utf-8"?>
<p:tagLst xmlns:a="http://schemas.openxmlformats.org/drawingml/2006/main" xmlns:r="http://schemas.openxmlformats.org/officeDocument/2006/relationships" xmlns:p="http://schemas.openxmlformats.org/presentationml/2006/main">
  <p:tag name="DEVSCOPEPBISMARTSHAPES.TAG" val="{&quot;Id&quot;:&quot;cb882b42fe37409a97a64c813481b3b4&quot;,&quot;CaptureId&quot;:null,&quot;Name&quot;:&quot;CoVDP_IAI report_amc&quot;,&quot;Description&quot;:null,&quot;DoNotIncludeHyperlinkToPbi&quot;:false,&quot;PbiElement&quot;:{&quot;ElementType&quot;:3,&quot;Page&quot;:{&quot;Name&quot;:&quot;ReportSectionc42292d34132b7c13133&quot;,&quot;DisplayName&quot;:&quot;amc_cov_hcw_all&quot;,&quot;Visuals&quot;:null,&quot;SavedFilters&quot;:null,&quot;FilterSettings&quot;:null},&quot;SavedBookmark&quot;:null,&quot;SelectedBookmark&quot;:null,&quot;BaseSlicers&quot;:null,&quot;SavedSlicers&quot;:null,&quot;Name&quot;:&quot;CoVDP_IAI report_amc&quot;,&quot;Id&quot;:&quot;6f5b9871-1fe8-4132-90a6-2e12aab0d75d&quot;,&quot;Title&quot;:&quot;CoVDP_IAI report_amc&quot;,&quot;EmbedUrl&quot;:&quot;https://app.powerbi.com/reportEmbed?reportId=6f5b9871-1fe8-4132-90a6-2e12aab0d75d&amp;groupId=74edb552-9095-494d-bb31-abbedd32af99&amp;w=2&amp;config=eyJjbHVzdGVyVXJsIjoiaHR0cHM6Ly9XQUJJLU5PUlRILUVVUk9QRS1HLVBSSU1BUlktcmVkaXJlY3QuYW5hbHlzaXMud2luZG93cy5uZXQiLCJlbWJlZEZlYXR1cmVzIjp7Im1vZGVybkVtYmVkIjp0cnVlLCJ1c2FnZU1ldHJpY3NWTmV4dCI6dHJ1ZSwic2tpcFF1ZXJ5RGF0YVNhYVNFbWJlZCI6dHJ1ZSwic2tpcFF1ZXJ5RGF0YVBhYVNFbWJlZCI6dHJ1ZSwic2tpcFF1ZXJ5RGF0YUV4cG9ydFRvIjp0cnVlfX0%3d&quot;,&quot;WebUrl&quot;:&quot;https://app.powerbi.com/groups/74edb552-9095-494d-bb31-abbedd32af99/reports/6f5b9871-1fe8-4132-90a6-2e12aab0d75d&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920, 1080&quot;,&quot;LastRenderScale&quot;:2.0,&quot;LastRenderStatus&quot;:5,&quot;LastRenderStatusMessage&quot;:&quot;&quot;},&quot;ShapeType&quot;:0,&quot;ShapeWidth&quot;:2560,&quot;ShapeHeight&quot;:1439}"/>
</p:tagLst>
</file>

<file path=ppt/tags/tag258.xml><?xml version="1.0" encoding="utf-8"?>
<p:tagLst xmlns:a="http://schemas.openxmlformats.org/drawingml/2006/main" xmlns:r="http://schemas.openxmlformats.org/officeDocument/2006/relationships" xmlns:p="http://schemas.openxmlformats.org/presentationml/2006/main">
  <p:tag name="DEVSCOPEPBISMARTSHAPES.TAG" val="{&quot;Id&quot;:&quot;2d36cf6db2524b2aafa58a0a7e33104d&quot;,&quot;CaptureId&quot;:null,&quot;Name&quot;:&quot;CoVDP_IAI report_amc&quot;,&quot;Description&quot;:null,&quot;DoNotIncludeHyperlinkToPbi&quot;:false,&quot;PbiElement&quot;:{&quot;ElementType&quot;:3,&quot;Page&quot;:{&quot;Name&quot;:&quot;ReportSectioneb700ce39a39656b5f28&quot;,&quot;DisplayName&quot;:&quot;amc_cov_old_overview&quot;,&quot;Visuals&quot;:null,&quot;SavedFilters&quot;:null,&quot;FilterSettings&quot;:null},&quot;SavedBookmark&quot;:null,&quot;SelectedBookmark&quot;:null,&quot;BaseSlicers&quot;:null,&quot;SavedSlicers&quot;:null,&quot;Name&quot;:&quot;CoVDP_IAI report_amc&quot;,&quot;Id&quot;:&quot;6f5b9871-1fe8-4132-90a6-2e12aab0d75d&quot;,&quot;Title&quot;:&quot;CoVDP_IAI report_amc&quot;,&quot;EmbedUrl&quot;:&quot;https://app.powerbi.com/reportEmbed?reportId=6f5b9871-1fe8-4132-90a6-2e12aab0d75d&amp;groupId=74edb552-9095-494d-bb31-abbedd32af99&amp;w=2&amp;config=eyJjbHVzdGVyVXJsIjoiaHR0cHM6Ly9XQUJJLU5PUlRILUVVUk9QRS1HLVBSSU1BUlktcmVkaXJlY3QuYW5hbHlzaXMud2luZG93cy5uZXQiLCJlbWJlZEZlYXR1cmVzIjp7Im1vZGVybkVtYmVkIjp0cnVlLCJ1c2FnZU1ldHJpY3NWTmV4dCI6dHJ1ZSwic2tpcFF1ZXJ5RGF0YVNhYVNFbWJlZCI6dHJ1ZSwic2tpcFF1ZXJ5RGF0YVBhYVNFbWJlZCI6dHJ1ZSwic2tpcFF1ZXJ5RGF0YUV4cG9ydFRvIjp0cnVlfX0%3d&quot;,&quot;WebUrl&quot;:&quot;https://app.powerbi.com/groups/74edb552-9095-494d-bb31-abbedd32af99/reports/6f5b9871-1fe8-4132-90a6-2e12aab0d75d&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920, 1080&quot;,&quot;LastRenderScale&quot;:2.0,&quot;LastRenderStatus&quot;:5,&quot;LastRenderStatusMessage&quot;:&quot;&quot;},&quot;ShapeType&quot;:0,&quot;ShapeWidth&quot;:1920,&quot;ShapeHeight&quot;:1080}"/>
</p:tagLst>
</file>

<file path=ppt/tags/tag259.xml><?xml version="1.0" encoding="utf-8"?>
<p:tagLst xmlns:a="http://schemas.openxmlformats.org/drawingml/2006/main" xmlns:r="http://schemas.openxmlformats.org/officeDocument/2006/relationships" xmlns:p="http://schemas.openxmlformats.org/presentationml/2006/main">
  <p:tag name="DEVSCOPEPBISMARTSHAPES.TAG" val="{&quot;Id&quot;:&quot;4bdfeb27b4f64c9792905d6e8374c530&quot;,&quot;CaptureId&quot;:null,&quot;Name&quot;:&quot;CoVDP_IAI report_amc&quot;,&quot;Description&quot;:null,&quot;DoNotIncludeHyperlinkToPbi&quot;:false,&quot;PbiElement&quot;:{&quot;ElementType&quot;:3,&quot;Page&quot;:{&quot;Name&quot;:&quot;ReportSection841798bb211258e17ced&quot;,&quot;DisplayName&quot;:&quot;amc_cov_old_scatter&quot;,&quot;Visuals&quot;:null,&quot;SavedFilters&quot;:null,&quot;FilterSettings&quot;:null},&quot;SavedBookmark&quot;:null,&quot;SelectedBookmark&quot;:null,&quot;BaseSlicers&quot;:null,&quot;SavedSlicers&quot;:null,&quot;Name&quot;:&quot;CoVDP_IAI report_amc&quot;,&quot;Id&quot;:&quot;6f5b9871-1fe8-4132-90a6-2e12aab0d75d&quot;,&quot;Title&quot;:&quot;CoVDP_IAI report_amc&quot;,&quot;EmbedUrl&quot;:&quot;https://app.powerbi.com/reportEmbed?reportId=6f5b9871-1fe8-4132-90a6-2e12aab0d75d&amp;groupId=74edb552-9095-494d-bb31-abbedd32af99&amp;w=2&amp;config=eyJjbHVzdGVyVXJsIjoiaHR0cHM6Ly9XQUJJLU5PUlRILUVVUk9QRS1HLVBSSU1BUlktcmVkaXJlY3QuYW5hbHlzaXMud2luZG93cy5uZXQiLCJlbWJlZEZlYXR1cmVzIjp7Im1vZGVybkVtYmVkIjp0cnVlLCJ1c2FnZU1ldHJpY3NWTmV4dCI6dHJ1ZSwic2tpcFF1ZXJ5RGF0YVNhYVNFbWJlZCI6dHJ1ZSwic2tpcFF1ZXJ5RGF0YVBhYVNFbWJlZCI6dHJ1ZSwic2tpcFF1ZXJ5RGF0YUV4cG9ydFRvIjp0cnVlfX0%3d&quot;,&quot;WebUrl&quot;:&quot;https://app.powerbi.com/groups/74edb552-9095-494d-bb31-abbedd32af99/reports/6f5b9871-1fe8-4132-90a6-2e12aab0d75d&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920, 1080&quot;,&quot;LastRenderScale&quot;:2.0,&quot;LastRenderStatus&quot;:5,&quot;LastRenderStatusMessage&quot;:&quot;&quot;},&quot;ShapeType&quot;:0,&quot;ShapeWidth&quot;:2560,&quot;ShapeHeight&quot;:1439}"/>
</p:tagLst>
</file>

<file path=ppt/tags/tag26.xml><?xml version="1.0" encoding="utf-8"?>
<p:tagLst xmlns:a="http://schemas.openxmlformats.org/drawingml/2006/main" xmlns:r="http://schemas.openxmlformats.org/officeDocument/2006/relationships" xmlns:p="http://schemas.openxmlformats.org/presentationml/2006/main">
  <p:tag name="SHAPENAME" val="Title"/>
</p:tagLst>
</file>

<file path=ppt/tags/tag260.xml><?xml version="1.0" encoding="utf-8"?>
<p:tagLst xmlns:a="http://schemas.openxmlformats.org/drawingml/2006/main" xmlns:r="http://schemas.openxmlformats.org/officeDocument/2006/relationships" xmlns:p="http://schemas.openxmlformats.org/presentationml/2006/main">
  <p:tag name="DEVSCOPEPBISMARTSHAPES.TAG" val="{&quot;Id&quot;:&quot;4ef19f218e0c426d8270e6942753bbb8&quot;,&quot;CaptureId&quot;:null,&quot;Name&quot;:&quot;CoVDP_IAI report_amc&quot;,&quot;Description&quot;:null,&quot;DoNotIncludeHyperlinkToPbi&quot;:false,&quot;PbiElement&quot;:{&quot;ElementType&quot;:3,&quot;Page&quot;:{&quot;Name&quot;:&quot;ReportSectionddc33a1044fb70d4308d&quot;,&quot;DisplayName&quot;:&quot;amc_cov_old_all&quot;,&quot;Visuals&quot;:null,&quot;SavedFilters&quot;:null,&quot;FilterSettings&quot;:null},&quot;SavedBookmark&quot;:null,&quot;SelectedBookmark&quot;:null,&quot;BaseSlicers&quot;:null,&quot;SavedSlicers&quot;:null,&quot;Name&quot;:&quot;CoVDP_IAI report_amc&quot;,&quot;Id&quot;:&quot;6f5b9871-1fe8-4132-90a6-2e12aab0d75d&quot;,&quot;Title&quot;:&quot;CoVDP_IAI report_amc&quot;,&quot;EmbedUrl&quot;:&quot;https://app.powerbi.com/reportEmbed?reportId=6f5b9871-1fe8-4132-90a6-2e12aab0d75d&amp;groupId=74edb552-9095-494d-bb31-abbedd32af99&amp;w=2&amp;config=eyJjbHVzdGVyVXJsIjoiaHR0cHM6Ly9XQUJJLU5PUlRILUVVUk9QRS1HLVBSSU1BUlktcmVkaXJlY3QuYW5hbHlzaXMud2luZG93cy5uZXQiLCJlbWJlZEZlYXR1cmVzIjp7Im1vZGVybkVtYmVkIjp0cnVlLCJ1c2FnZU1ldHJpY3NWTmV4dCI6dHJ1ZSwic2tpcFF1ZXJ5RGF0YVNhYVNFbWJlZCI6dHJ1ZSwic2tpcFF1ZXJ5RGF0YVBhYVNFbWJlZCI6dHJ1ZSwic2tpcFF1ZXJ5RGF0YUV4cG9ydFRvIjp0cnVlfX0%3d&quot;,&quot;WebUrl&quot;:&quot;https://app.powerbi.com/groups/74edb552-9095-494d-bb31-abbedd32af99/reports/6f5b9871-1fe8-4132-90a6-2e12aab0d75d&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920, 1080&quot;,&quot;LastRenderScale&quot;:2.0,&quot;LastRenderStatus&quot;:5,&quot;LastRenderStatusMessage&quot;:&quot;&quot;},&quot;ShapeType&quot;:0,&quot;ShapeWidth&quot;:2560,&quot;ShapeHeight&quot;:1439}"/>
</p:tagLst>
</file>

<file path=ppt/tags/tag261.xml><?xml version="1.0" encoding="utf-8"?>
<p:tagLst xmlns:a="http://schemas.openxmlformats.org/drawingml/2006/main" xmlns:r="http://schemas.openxmlformats.org/officeDocument/2006/relationships" xmlns:p="http://schemas.openxmlformats.org/presentationml/2006/main">
  <p:tag name="DEVSCOPEPBISMARTSHAPES.TAG" val="{&quot;Id&quot;:&quot;9a7cb3c02fd640729c45fe001cb41f85&quot;,&quot;CaptureId&quot;:null,&quot;Name&quot;:&quot;CoVDP_IAI report_amc&quot;,&quot;Description&quot;:null,&quot;DoNotIncludeHyperlinkToPbi&quot;:false,&quot;PbiElement&quot;:{&quot;ElementType&quot;:3,&quot;Page&quot;:{&quot;Name&quot;:&quot;ReportSectionc34b852aa583daf59bab&quot;,&quot;DisplayName&quot;:&quot;amc_cov_gen_overview&quot;,&quot;Visuals&quot;:null,&quot;SavedFilters&quot;:null,&quot;FilterSettings&quot;:null},&quot;SavedBookmark&quot;:null,&quot;SelectedBookmark&quot;:null,&quot;BaseSlicers&quot;:null,&quot;SavedSlicers&quot;:null,&quot;Name&quot;:&quot;CoVDP_IAI report_amc&quot;,&quot;Id&quot;:&quot;6f5b9871-1fe8-4132-90a6-2e12aab0d75d&quot;,&quot;Title&quot;:&quot;CoVDP_IAI report_amc&quot;,&quot;EmbedUrl&quot;:&quot;https://app.powerbi.com/reportEmbed?reportId=6f5b9871-1fe8-4132-90a6-2e12aab0d75d&amp;groupId=74edb552-9095-494d-bb31-abbedd32af99&amp;w=2&amp;config=eyJjbHVzdGVyVXJsIjoiaHR0cHM6Ly9XQUJJLU5PUlRILUVVUk9QRS1HLVBSSU1BUlktcmVkaXJlY3QuYW5hbHlzaXMud2luZG93cy5uZXQiLCJlbWJlZEZlYXR1cmVzIjp7Im1vZGVybkVtYmVkIjp0cnVlLCJ1c2FnZU1ldHJpY3NWTmV4dCI6dHJ1ZSwic2tpcFF1ZXJ5RGF0YVNhYVNFbWJlZCI6dHJ1ZSwic2tpcFF1ZXJ5RGF0YVBhYVNFbWJlZCI6dHJ1ZSwic2tpcFF1ZXJ5RGF0YUV4cG9ydFRvIjp0cnVlfX0%3d&quot;,&quot;WebUrl&quot;:&quot;https://app.powerbi.com/groups/74edb552-9095-494d-bb31-abbedd32af99/reports/6f5b9871-1fe8-4132-90a6-2e12aab0d75d&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920, 1080&quot;,&quot;LastRenderScale&quot;:2.0,&quot;LastRenderStatus&quot;:5,&quot;LastRenderStatusMessage&quot;:&quot;&quot;},&quot;ShapeType&quot;:0,&quot;ShapeWidth&quot;:2560,&quot;ShapeHeight&quot;:1439}"/>
</p:tagLst>
</file>

<file path=ppt/tags/tag262.xml><?xml version="1.0" encoding="utf-8"?>
<p:tagLst xmlns:a="http://schemas.openxmlformats.org/drawingml/2006/main" xmlns:r="http://schemas.openxmlformats.org/officeDocument/2006/relationships" xmlns:p="http://schemas.openxmlformats.org/presentationml/2006/main">
  <p:tag name="DEVSCOPEPBISMARTSHAPES.TAG" val="{&quot;Id&quot;:&quot;4090e2b8de7645d2a4f614b954fa998d&quot;,&quot;CaptureId&quot;:null,&quot;Name&quot;:&quot;CoVDP_IAI report_amc&quot;,&quot;Description&quot;:null,&quot;DoNotIncludeHyperlinkToPbi&quot;:false,&quot;PbiElement&quot;:{&quot;ElementType&quot;:3,&quot;Page&quot;:{&quot;Name&quot;:&quot;ReportSection5d20f36d749e98f9ff21&quot;,&quot;DisplayName&quot;:&quot;amc_cov_gen_scatter&quot;,&quot;Visuals&quot;:null,&quot;SavedFilters&quot;:null,&quot;FilterSettings&quot;:null},&quot;SavedBookmark&quot;:null,&quot;SelectedBookmark&quot;:null,&quot;BaseSlicers&quot;:null,&quot;SavedSlicers&quot;:null,&quot;Name&quot;:&quot;CoVDP_IAI report_amc&quot;,&quot;Id&quot;:&quot;6f5b9871-1fe8-4132-90a6-2e12aab0d75d&quot;,&quot;Title&quot;:&quot;CoVDP_IAI report_amc&quot;,&quot;EmbedUrl&quot;:&quot;https://app.powerbi.com/reportEmbed?reportId=6f5b9871-1fe8-4132-90a6-2e12aab0d75d&amp;groupId=74edb552-9095-494d-bb31-abbedd32af99&amp;w=2&amp;config=eyJjbHVzdGVyVXJsIjoiaHR0cHM6Ly9XQUJJLU5PUlRILUVVUk9QRS1HLVBSSU1BUlktcmVkaXJlY3QuYW5hbHlzaXMud2luZG93cy5uZXQiLCJlbWJlZEZlYXR1cmVzIjp7Im1vZGVybkVtYmVkIjp0cnVlLCJ1c2FnZU1ldHJpY3NWTmV4dCI6dHJ1ZSwic2tpcFF1ZXJ5RGF0YVNhYVNFbWJlZCI6dHJ1ZSwic2tpcFF1ZXJ5RGF0YVBhYVNFbWJlZCI6dHJ1ZSwic2tpcFF1ZXJ5RGF0YUV4cG9ydFRvIjp0cnVlfX0%3d&quot;,&quot;WebUrl&quot;:&quot;https://app.powerbi.com/groups/74edb552-9095-494d-bb31-abbedd32af99/reports/6f5b9871-1fe8-4132-90a6-2e12aab0d75d&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920, 1080&quot;,&quot;LastRenderScale&quot;:2.0,&quot;LastRenderStatus&quot;:5,&quot;LastRenderStatusMessage&quot;:&quot;&quot;},&quot;ShapeType&quot;:0,&quot;ShapeWidth&quot;:2560,&quot;ShapeHeight&quot;:1439}"/>
</p:tagLst>
</file>

<file path=ppt/tags/tag263.xml><?xml version="1.0" encoding="utf-8"?>
<p:tagLst xmlns:a="http://schemas.openxmlformats.org/drawingml/2006/main" xmlns:r="http://schemas.openxmlformats.org/officeDocument/2006/relationships" xmlns:p="http://schemas.openxmlformats.org/presentationml/2006/main">
  <p:tag name="DEVSCOPEPBISMARTSHAPES.TAG" val="{&quot;Id&quot;:&quot;89d461e939de43c9a476e12c35ac8ead&quot;,&quot;CaptureId&quot;:null,&quot;Name&quot;:&quot;CoVDP_IAI report_amc&quot;,&quot;Description&quot;:null,&quot;DoNotIncludeHyperlinkToPbi&quot;:false,&quot;PbiElement&quot;:{&quot;ElementType&quot;:3,&quot;Page&quot;:{&quot;Name&quot;:&quot;ReportSection0381468b283940cb89c2&quot;,&quot;DisplayName&quot;:&quot;amc_cov_ct_snapshot&quot;,&quot;Visuals&quot;:null,&quot;SavedFilters&quot;:null,&quot;FilterSettings&quot;:null},&quot;SavedBookmark&quot;:null,&quot;SelectedBookmark&quot;:null,&quot;BaseSlicers&quot;:null,&quot;SavedSlicers&quot;:null,&quot;Name&quot;:&quot;CoVDP_IAI report_amc&quot;,&quot;Id&quot;:&quot;6f5b9871-1fe8-4132-90a6-2e12aab0d75d&quot;,&quot;Title&quot;:&quot;CoVDP_IAI report_amc&quot;,&quot;EmbedUrl&quot;:&quot;https://app.powerbi.com/reportEmbed?reportId=6f5b9871-1fe8-4132-90a6-2e12aab0d75d&amp;groupId=74edb552-9095-494d-bb31-abbedd32af99&amp;w=2&amp;config=eyJjbHVzdGVyVXJsIjoiaHR0cHM6Ly9XQUJJLU5PUlRILUVVUk9QRS1HLVBSSU1BUlktcmVkaXJlY3QuYW5hbHlzaXMud2luZG93cy5uZXQiLCJlbWJlZEZlYXR1cmVzIjp7Im1vZGVybkVtYmVkIjp0cnVlLCJ1c2FnZU1ldHJpY3NWTmV4dCI6dHJ1ZSwic2tpcFF1ZXJ5RGF0YVNhYVNFbWJlZCI6dHJ1ZSwic2tpcFF1ZXJ5RGF0YVBhYVNFbWJlZCI6dHJ1ZSwic2tpcFF1ZXJ5RGF0YUV4cG9ydFRvIjp0cnVlfX0%3d&quot;,&quot;WebUrl&quot;:&quot;https://app.powerbi.com/groups/74edb552-9095-494d-bb31-abbedd32af99/reports/6f5b9871-1fe8-4132-90a6-2e12aab0d75d&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920, 1080&quot;,&quot;LastRenderScale&quot;:2.0,&quot;LastRenderStatus&quot;:5,&quot;LastRenderStatusMessage&quot;:&quot;&quot;},&quot;ShapeType&quot;:0,&quot;ShapeWidth&quot;:2560,&quot;ShapeHeight&quot;:1439}"/>
</p:tagLst>
</file>

<file path=ppt/tags/tag264.xml><?xml version="1.0" encoding="utf-8"?>
<p:tagLst xmlns:a="http://schemas.openxmlformats.org/drawingml/2006/main" xmlns:r="http://schemas.openxmlformats.org/officeDocument/2006/relationships" xmlns:p="http://schemas.openxmlformats.org/presentationml/2006/main">
  <p:tag name="DEVSCOPEPBISMARTSHAPES.TAG" val="{&quot;Id&quot;:&quot;a99587d596764f368b76ea2f2e380696&quot;,&quot;CaptureId&quot;:null,&quot;Name&quot;:&quot;CoVDP_IAI report_amc&quot;,&quot;Description&quot;:null,&quot;DoNotIncludeHyperlinkToPbi&quot;:false,&quot;PbiElement&quot;:{&quot;ElementType&quot;:3,&quot;Page&quot;:{&quot;Name&quot;:&quot;ReportSection5f89609209b4516504aa&quot;,&quot;DisplayName&quot;:&quot;amc_cov_ct_comp&quot;,&quot;Visuals&quot;:null,&quot;SavedFilters&quot;:null,&quot;FilterSettings&quot;:null},&quot;SavedBookmark&quot;:null,&quot;SelectedBookmark&quot;:null,&quot;BaseSlicers&quot;:null,&quot;SavedSlicers&quot;:null,&quot;Name&quot;:&quot;CoVDP_IAI report_amc&quot;,&quot;Id&quot;:&quot;6f5b9871-1fe8-4132-90a6-2e12aab0d75d&quot;,&quot;Title&quot;:&quot;CoVDP_IAI report_amc&quot;,&quot;EmbedUrl&quot;:&quot;https://app.powerbi.com/reportEmbed?reportId=6f5b9871-1fe8-4132-90a6-2e12aab0d75d&amp;groupId=74edb552-9095-494d-bb31-abbedd32af99&amp;w=2&amp;config=eyJjbHVzdGVyVXJsIjoiaHR0cHM6Ly9XQUJJLU5PUlRILUVVUk9QRS1HLVBSSU1BUlktcmVkaXJlY3QuYW5hbHlzaXMud2luZG93cy5uZXQiLCJlbWJlZEZlYXR1cmVzIjp7Im1vZGVybkVtYmVkIjp0cnVlLCJ1c2FnZU1ldHJpY3NWTmV4dCI6dHJ1ZSwic2tpcFF1ZXJ5RGF0YVNhYVNFbWJlZCI6dHJ1ZSwic2tpcFF1ZXJ5RGF0YVBhYVNFbWJlZCI6dHJ1ZSwic2tpcFF1ZXJ5RGF0YUV4cG9ydFRvIjp0cnVlfX0%3d&quot;,&quot;WebUrl&quot;:&quot;https://app.powerbi.com/groups/74edb552-9095-494d-bb31-abbedd32af99/reports/6f5b9871-1fe8-4132-90a6-2e12aab0d75d&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920, 1080&quot;,&quot;LastRenderScale&quot;:2.0,&quot;LastRenderStatus&quot;:5,&quot;LastRenderStatusMessage&quot;:&quot;&quot;},&quot;ShapeType&quot;:0,&quot;ShapeWidth&quot;:2560,&quot;ShapeHeight&quot;:1439}"/>
</p:tagLst>
</file>

<file path=ppt/tags/tag265.xml><?xml version="1.0" encoding="utf-8"?>
<p:tagLst xmlns:a="http://schemas.openxmlformats.org/drawingml/2006/main" xmlns:r="http://schemas.openxmlformats.org/officeDocument/2006/relationships" xmlns:p="http://schemas.openxmlformats.org/presentationml/2006/main">
  <p:tag name="DEVSCOPEPBISMARTSHAPES.TAG" val="{&quot;Id&quot;:&quot;27210c2d14bb4c26aed339d024f07cd9&quot;,&quot;CaptureId&quot;:null,&quot;Name&quot;:&quot;CoVDP_IAI report_amc&quot;,&quot;Description&quot;:null,&quot;DoNotIncludeHyperlinkToPbi&quot;:false,&quot;PbiElement&quot;:{&quot;ElementType&quot;:3,&quot;Page&quot;:{&quot;Name&quot;:&quot;ReportSection067d8dfbf4ac1f603d21&quot;,&quot;DisplayName&quot;:&quot;amc_dvr_overview&quot;,&quot;Visuals&quot;:null,&quot;SavedFilters&quot;:null,&quot;FilterSettings&quot;:null},&quot;SavedBookmark&quot;:null,&quot;SelectedBookmark&quot;:null,&quot;BaseSlicers&quot;:null,&quot;SavedSlicers&quot;:null,&quot;Name&quot;:&quot;CoVDP_IAI report_amc&quot;,&quot;Id&quot;:&quot;6f5b9871-1fe8-4132-90a6-2e12aab0d75d&quot;,&quot;Title&quot;:&quot;CoVDP_IAI report_amc&quot;,&quot;EmbedUrl&quot;:&quot;https://app.powerbi.com/reportEmbed?reportId=6f5b9871-1fe8-4132-90a6-2e12aab0d75d&amp;groupId=74edb552-9095-494d-bb31-abbedd32af99&amp;w=2&amp;config=eyJjbHVzdGVyVXJsIjoiaHR0cHM6Ly9XQUJJLU5PUlRILUVVUk9QRS1HLVBSSU1BUlktcmVkaXJlY3QuYW5hbHlzaXMud2luZG93cy5uZXQiLCJlbWJlZEZlYXR1cmVzIjp7Im1vZGVybkVtYmVkIjp0cnVlLCJ1c2FnZU1ldHJpY3NWTmV4dCI6dHJ1ZSwic2tpcFF1ZXJ5RGF0YVNhYVNFbWJlZCI6dHJ1ZSwic2tpcFF1ZXJ5RGF0YVBhYVNFbWJlZCI6dHJ1ZSwic2tpcFF1ZXJ5RGF0YUV4cG9ydFRvIjp0cnVlfX0%3d&quot;,&quot;WebUrl&quot;:&quot;https://app.powerbi.com/groups/74edb552-9095-494d-bb31-abbedd32af99/reports/6f5b9871-1fe8-4132-90a6-2e12aab0d75d&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920, 1080&quot;,&quot;LastRenderScale&quot;:2.0,&quot;LastRenderStatus&quot;:5,&quot;LastRenderStatusMessage&quot;:&quot;&quot;},&quot;ShapeType&quot;:0,&quot;ShapeWidth&quot;:2560,&quot;ShapeHeight&quot;:1439}"/>
</p:tagLst>
</file>

<file path=ppt/tags/tag266.xml><?xml version="1.0" encoding="utf-8"?>
<p:tagLst xmlns:a="http://schemas.openxmlformats.org/drawingml/2006/main" xmlns:r="http://schemas.openxmlformats.org/officeDocument/2006/relationships" xmlns:p="http://schemas.openxmlformats.org/presentationml/2006/main">
  <p:tag name="DEVSCOPEPBISMARTSHAPES.TAG" val="{&quot;Id&quot;:&quot;7d688f23a9904156a8d1d7d0ad0106b8&quot;,&quot;CaptureId&quot;:null,&quot;Name&quot;:&quot;CoVDP_IAI report_amc&quot;,&quot;Description&quot;:null,&quot;DoNotIncludeHyperlinkToPbi&quot;:false,&quot;PbiElement&quot;:{&quot;ElementType&quot;:3,&quot;Page&quot;:{&quot;Name&quot;:&quot;ReportSectionce8be4366c44945bc900&quot;,&quot;DisplayName&quot;:&quot;amc_sup_overview&quot;,&quot;Visuals&quot;:null,&quot;SavedFilters&quot;:null,&quot;FilterSettings&quot;:null},&quot;SavedBookmark&quot;:null,&quot;SelectedBookmark&quot;:null,&quot;BaseSlicers&quot;:null,&quot;SavedSlicers&quot;:null,&quot;Name&quot;:&quot;CoVDP_IAI report_amc&quot;,&quot;Id&quot;:&quot;6f5b9871-1fe8-4132-90a6-2e12aab0d75d&quot;,&quot;Title&quot;:&quot;CoVDP_IAI report_amc&quot;,&quot;EmbedUrl&quot;:&quot;https://app.powerbi.com/reportEmbed?reportId=6f5b9871-1fe8-4132-90a6-2e12aab0d75d&amp;groupId=74edb552-9095-494d-bb31-abbedd32af99&amp;w=2&amp;config=eyJjbHVzdGVyVXJsIjoiaHR0cHM6Ly9XQUJJLU5PUlRILUVVUk9QRS1HLVBSSU1BUlktcmVkaXJlY3QuYW5hbHlzaXMud2luZG93cy5uZXQiLCJlbWJlZEZlYXR1cmVzIjp7Im1vZGVybkVtYmVkIjp0cnVlLCJ1c2FnZU1ldHJpY3NWTmV4dCI6dHJ1ZSwic2tpcFF1ZXJ5RGF0YVNhYVNFbWJlZCI6dHJ1ZSwic2tpcFF1ZXJ5RGF0YVBhYVNFbWJlZCI6dHJ1ZSwic2tpcFF1ZXJ5RGF0YUV4cG9ydFRvIjp0cnVlfX0%3d&quot;,&quot;WebUrl&quot;:&quot;https://app.powerbi.com/groups/74edb552-9095-494d-bb31-abbedd32af99/reports/6f5b9871-1fe8-4132-90a6-2e12aab0d75d&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920, 1080&quot;,&quot;LastRenderScale&quot;:2.0,&quot;LastRenderStatus&quot;:5,&quot;LastRenderStatusMessage&quot;:&quot;&quot;},&quot;ShapeType&quot;:0,&quot;ShapeWidth&quot;:2560,&quot;ShapeHeight&quot;:1439}"/>
</p:tagLst>
</file>

<file path=ppt/tags/tag267.xml><?xml version="1.0" encoding="utf-8"?>
<p:tagLst xmlns:a="http://schemas.openxmlformats.org/drawingml/2006/main" xmlns:r="http://schemas.openxmlformats.org/officeDocument/2006/relationships" xmlns:p="http://schemas.openxmlformats.org/presentationml/2006/main">
  <p:tag name="DEVSCOPEPBISMARTSHAPES.TAG" val="{&quot;Id&quot;:&quot;a6802239b20a48dcb359b4feb0757854&quot;,&quot;CaptureId&quot;:null,&quot;Name&quot;:&quot;CoVDP_IAI report_amc&quot;,&quot;Description&quot;:null,&quot;DoNotIncludeHyperlinkToPbi&quot;:false,&quot;PbiElement&quot;:{&quot;ElementType&quot;:3,&quot;Page&quot;:{&quot;Name&quot;:&quot;ReportSection9ec00af126320e46a5b9&quot;,&quot;DisplayName&quot;:&quot;amc_fin_overview&quot;,&quot;Visuals&quot;:null,&quot;SavedFilters&quot;:null,&quot;FilterSettings&quot;:null},&quot;SavedBookmark&quot;:null,&quot;SelectedBookmark&quot;:null,&quot;BaseSlicers&quot;:null,&quot;SavedSlicers&quot;:null,&quot;Name&quot;:&quot;CoVDP_IAI report_amc&quot;,&quot;Id&quot;:&quot;6f5b9871-1fe8-4132-90a6-2e12aab0d75d&quot;,&quot;Title&quot;:&quot;CoVDP_IAI report_amc&quot;,&quot;EmbedUrl&quot;:&quot;https://app.powerbi.com/reportEmbed?reportId=6f5b9871-1fe8-4132-90a6-2e12aab0d75d&amp;groupId=74edb552-9095-494d-bb31-abbedd32af99&amp;w=2&amp;config=eyJjbHVzdGVyVXJsIjoiaHR0cHM6Ly9XQUJJLU5PUlRILUVVUk9QRS1HLVBSSU1BUlktcmVkaXJlY3QuYW5hbHlzaXMud2luZG93cy5uZXQiLCJlbWJlZEZlYXR1cmVzIjp7Im1vZGVybkVtYmVkIjp0cnVlLCJ1c2FnZU1ldHJpY3NWTmV4dCI6dHJ1ZSwic2tpcFF1ZXJ5RGF0YVNhYVNFbWJlZCI6dHJ1ZSwic2tpcFF1ZXJ5RGF0YVBhYVNFbWJlZCI6dHJ1ZSwic2tpcFF1ZXJ5RGF0YUV4cG9ydFRvIjp0cnVlfX0%3d&quot;,&quot;WebUrl&quot;:&quot;https://app.powerbi.com/groups/74edb552-9095-494d-bb31-abbedd32af99/reports/6f5b9871-1fe8-4132-90a6-2e12aab0d75d&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920, 1080&quot;,&quot;LastRenderScale&quot;:2.0,&quot;LastRenderStatus&quot;:5,&quot;LastRenderStatusMessage&quot;:&quot;&quot;},&quot;ShapeType&quot;:0,&quot;ShapeWidth&quot;:2560,&quot;ShapeHeight&quot;:1439}"/>
</p:tagLst>
</file>

<file path=ppt/tags/tag268.xml><?xml version="1.0" encoding="utf-8"?>
<p:tagLst xmlns:a="http://schemas.openxmlformats.org/drawingml/2006/main" xmlns:r="http://schemas.openxmlformats.org/officeDocument/2006/relationships" xmlns:p="http://schemas.openxmlformats.org/presentationml/2006/main">
  <p:tag name="DEVSCOPEPBISMARTSHAPES.TAG" val="{&quot;Id&quot;:&quot;5890b6a06f9941568b2804f02247f8ba&quot;,&quot;CaptureId&quot;:null,&quot;Name&quot;:&quot;CoVDP_IAI report_amc&quot;,&quot;Description&quot;:null,&quot;DoNotIncludeHyperlinkToPbi&quot;:false,&quot;PbiElement&quot;:{&quot;ElementType&quot;:3,&quot;Page&quot;:{&quot;Name&quot;:&quot;ReportSection461dd1f279cbf4fb0572&quot;,&quot;DisplayName&quot;:&quot;amc_fin_scatter&quot;,&quot;Visuals&quot;:null,&quot;SavedFilters&quot;:null,&quot;FilterSettings&quot;:null},&quot;SavedBookmark&quot;:null,&quot;SelectedBookmark&quot;:null,&quot;BaseSlicers&quot;:null,&quot;SavedSlicers&quot;:null,&quot;Name&quot;:&quot;CoVDP_IAI report_amc&quot;,&quot;Id&quot;:&quot;6f5b9871-1fe8-4132-90a6-2e12aab0d75d&quot;,&quot;Title&quot;:&quot;CoVDP_IAI report_amc&quot;,&quot;EmbedUrl&quot;:&quot;https://app.powerbi.com/reportEmbed?reportId=6f5b9871-1fe8-4132-90a6-2e12aab0d75d&amp;groupId=74edb552-9095-494d-bb31-abbedd32af99&amp;w=2&amp;config=eyJjbHVzdGVyVXJsIjoiaHR0cHM6Ly9XQUJJLU5PUlRILUVVUk9QRS1HLVBSSU1BUlktcmVkaXJlY3QuYW5hbHlzaXMud2luZG93cy5uZXQiLCJlbWJlZEZlYXR1cmVzIjp7Im1vZGVybkVtYmVkIjp0cnVlLCJ1c2FnZU1ldHJpY3NWTmV4dCI6dHJ1ZSwic2tpcFF1ZXJ5RGF0YVNhYVNFbWJlZCI6dHJ1ZSwic2tpcFF1ZXJ5RGF0YVBhYVNFbWJlZCI6dHJ1ZSwic2tpcFF1ZXJ5RGF0YUV4cG9ydFRvIjp0cnVlfX0%3d&quot;,&quot;WebUrl&quot;:&quot;https://app.powerbi.com/groups/74edb552-9095-494d-bb31-abbedd32af99/reports/6f5b9871-1fe8-4132-90a6-2e12aab0d75d&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920, 1080&quot;,&quot;LastRenderScale&quot;:2.0,&quot;LastRenderStatus&quot;:5,&quot;LastRenderStatusMessage&quot;:&quot;&quot;},&quot;ShapeType&quot;:0,&quot;ShapeWidth&quot;:2560,&quot;ShapeHeight&quot;:1439}"/>
</p:tagLst>
</file>

<file path=ppt/tags/tag269.xml><?xml version="1.0" encoding="utf-8"?>
<p:tagLst xmlns:a="http://schemas.openxmlformats.org/drawingml/2006/main" xmlns:r="http://schemas.openxmlformats.org/officeDocument/2006/relationships" xmlns:p="http://schemas.openxmlformats.org/presentationml/2006/main">
  <p:tag name="DEVSCOPEPBISMARTSHAPES.TAG" val="{&quot;Id&quot;:&quot;b47cf6a842e54e398e71047210ca001d&quot;,&quot;CaptureId&quot;:null,&quot;Name&quot;:&quot;CoVDP_IAI report_amc&quot;,&quot;Description&quot;:null,&quot;DoNotIncludeHyperlinkToPbi&quot;:false,&quot;PbiElement&quot;:{&quot;ElementType&quot;:3,&quot;Page&quot;:{&quot;Name&quot;:&quot;ReportSection983c3f9c2fe98ef83542&quot;,&quot;DisplayName&quot;:&quot;amc_fin_waterfall&quot;,&quot;Visuals&quot;:null,&quot;SavedFilters&quot;:null,&quot;FilterSettings&quot;:null},&quot;SavedBookmark&quot;:null,&quot;SelectedBookmark&quot;:null,&quot;BaseSlicers&quot;:null,&quot;SavedSlicers&quot;:null,&quot;Name&quot;:&quot;CoVDP_IAI report_amc&quot;,&quot;Id&quot;:&quot;6f5b9871-1fe8-4132-90a6-2e12aab0d75d&quot;,&quot;Title&quot;:&quot;CoVDP_IAI report_amc&quot;,&quot;EmbedUrl&quot;:&quot;https://app.powerbi.com/reportEmbed?reportId=6f5b9871-1fe8-4132-90a6-2e12aab0d75d&amp;groupId=74edb552-9095-494d-bb31-abbedd32af99&amp;w=2&amp;config=eyJjbHVzdGVyVXJsIjoiaHR0cHM6Ly9XQUJJLU5PUlRILUVVUk9QRS1HLVBSSU1BUlktcmVkaXJlY3QuYW5hbHlzaXMud2luZG93cy5uZXQiLCJlbWJlZEZlYXR1cmVzIjp7Im1vZGVybkVtYmVkIjp0cnVlLCJ1c2FnZU1ldHJpY3NWTmV4dCI6dHJ1ZSwic2tpcFF1ZXJ5RGF0YVNhYVNFbWJlZCI6dHJ1ZSwic2tpcFF1ZXJ5RGF0YVBhYVNFbWJlZCI6dHJ1ZSwic2tpcFF1ZXJ5RGF0YUV4cG9ydFRvIjp0cnVlfX0%3d&quot;,&quot;WebUrl&quot;:&quot;https://app.powerbi.com/groups/74edb552-9095-494d-bb31-abbedd32af99/reports/6f5b9871-1fe8-4132-90a6-2e12aab0d75d&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920, 1080&quot;,&quot;LastRenderScale&quot;:2.0,&quot;LastRenderStatus&quot;:5,&quot;LastRenderStatusMessage&quot;:&quot;&quot;},&quot;ShapeType&quot;:0,&quot;ShapeWidth&quot;:2560,&quot;ShapeHeight&quot;:1439}"/>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DEVSCOPEPBISMARTSHAPES.TAG" val="{&quot;Id&quot;:&quot;19e4f305c0a545a597dcda3740abf534&quot;,&quot;CaptureId&quot;:null,&quot;Name&quot;:&quot;CoVDP_IAI report_amc&quot;,&quot;Description&quot;:null,&quot;DoNotIncludeHyperlinkToPbi&quot;:false,&quot;PbiElement&quot;:{&quot;ElementType&quot;:3,&quot;Page&quot;:{&quot;Name&quot;:&quot;ReportSectione5e7fd10fe390f837581&quot;,&quot;DisplayName&quot;:&quot;csc_sum_key&quot;,&quot;Visuals&quot;:null,&quot;SavedFilters&quot;:null,&quot;FilterSettings&quot;:null},&quot;SavedBookmark&quot;:null,&quot;SelectedBookmark&quot;:null,&quot;BaseSlicers&quot;:null,&quot;SavedSlicers&quot;:null,&quot;Name&quot;:&quot;CoVDP_IAI report_amc&quot;,&quot;Id&quot;:&quot;6f5b9871-1fe8-4132-90a6-2e12aab0d75d&quot;,&quot;Title&quot;:&quot;CoVDP_IAI report_amc&quot;,&quot;EmbedUrl&quot;:&quot;https://app.powerbi.com/reportEmbed?reportId=6f5b9871-1fe8-4132-90a6-2e12aab0d75d&amp;groupId=74edb552-9095-494d-bb31-abbedd32af99&amp;w=2&amp;config=eyJjbHVzdGVyVXJsIjoiaHR0cHM6Ly9XQUJJLU5PUlRILUVVUk9QRS1HLVBSSU1BUlktcmVkaXJlY3QuYW5hbHlzaXMud2luZG93cy5uZXQiLCJlbWJlZEZlYXR1cmVzIjp7Im1vZGVybkVtYmVkIjp0cnVlLCJ1c2FnZU1ldHJpY3NWTmV4dCI6dHJ1ZSwic2tpcFF1ZXJ5RGF0YVNhYVNFbWJlZCI6dHJ1ZSwic2tpcFF1ZXJ5RGF0YVBhYVNFbWJlZCI6dHJ1ZSwic2tpcFF1ZXJ5RGF0YUV4cG9ydFRvIjp0cnVlfX0%3d&quot;,&quot;WebUrl&quot;:&quot;https://app.powerbi.com/groups/74edb552-9095-494d-bb31-abbedd32af99/reports/6f5b9871-1fe8-4132-90a6-2e12aab0d75d&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920, 1080&quot;,&quot;LastRenderScale&quot;:2.0,&quot;LastRenderStatus&quot;:5,&quot;LastRenderStatusMessage&quot;:&quot;&quot;},&quot;ShapeType&quot;:0,&quot;ShapeWidth&quot;:2560,&quot;ShapeHeight&quot;:1439}"/>
</p:tagLst>
</file>

<file path=ppt/tags/tag272.xml><?xml version="1.0" encoding="utf-8"?>
<p:tagLst xmlns:a="http://schemas.openxmlformats.org/drawingml/2006/main" xmlns:r="http://schemas.openxmlformats.org/officeDocument/2006/relationships" xmlns:p="http://schemas.openxmlformats.org/presentationml/2006/main">
  <p:tag name="DEVSCOPEPBISMARTSHAPES.TAG" val="{&quot;Id&quot;:&quot;db6f2a462a7f48d797ca4391b0de1a8b&quot;,&quot;CaptureId&quot;:null,&quot;Name&quot;:&quot;CoVDP_IAI report_amc&quot;,&quot;Description&quot;:null,&quot;DoNotIncludeHyperlinkToPbi&quot;:false,&quot;PbiElement&quot;:{&quot;ElementType&quot;:3,&quot;Page&quot;:{&quot;Name&quot;:&quot;ReportSection995167e7e96b81056c11&quot;,&quot;DisplayName&quot;:&quot;csc_sum_list&quot;,&quot;Visuals&quot;:null,&quot;SavedFilters&quot;:null,&quot;FilterSettings&quot;:null},&quot;SavedBookmark&quot;:null,&quot;SelectedBookmark&quot;:null,&quot;BaseSlicers&quot;:null,&quot;SavedSlicers&quot;:null,&quot;Name&quot;:&quot;CoVDP_IAI report_amc&quot;,&quot;Id&quot;:&quot;6f5b9871-1fe8-4132-90a6-2e12aab0d75d&quot;,&quot;Title&quot;:&quot;CoVDP_IAI report_amc&quot;,&quot;EmbedUrl&quot;:&quot;https://app.powerbi.com/reportEmbed?reportId=6f5b9871-1fe8-4132-90a6-2e12aab0d75d&amp;groupId=74edb552-9095-494d-bb31-abbedd32af99&amp;w=2&amp;config=eyJjbHVzdGVyVXJsIjoiaHR0cHM6Ly9XQUJJLU5PUlRILUVVUk9QRS1HLVBSSU1BUlktcmVkaXJlY3QuYW5hbHlzaXMud2luZG93cy5uZXQiLCJlbWJlZEZlYXR1cmVzIjp7Im1vZGVybkVtYmVkIjp0cnVlLCJ1c2FnZU1ldHJpY3NWTmV4dCI6dHJ1ZSwic2tpcFF1ZXJ5RGF0YVNhYVNFbWJlZCI6dHJ1ZSwic2tpcFF1ZXJ5RGF0YVBhYVNFbWJlZCI6dHJ1ZSwic2tpcFF1ZXJ5RGF0YUV4cG9ydFRvIjp0cnVlfX0%3d&quot;,&quot;WebUrl&quot;:&quot;https://app.powerbi.com/groups/74edb552-9095-494d-bb31-abbedd32af99/reports/6f5b9871-1fe8-4132-90a6-2e12aab0d75d&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920, 1080&quot;,&quot;LastRenderScale&quot;:2.0,&quot;LastRenderStatus&quot;:5,&quot;LastRenderStatusMessage&quot;:&quot;&quot;},&quot;ShapeType&quot;:0,&quot;ShapeWidth&quot;:2560,&quot;ShapeHeight&quot;:1439}"/>
</p:tagLst>
</file>

<file path=ppt/tags/tag273.xml><?xml version="1.0" encoding="utf-8"?>
<p:tagLst xmlns:a="http://schemas.openxmlformats.org/drawingml/2006/main" xmlns:r="http://schemas.openxmlformats.org/officeDocument/2006/relationships" xmlns:p="http://schemas.openxmlformats.org/presentationml/2006/main">
  <p:tag name="DEVSCOPEPBISMARTSHAPES.TAG" val="{&quot;Id&quot;:&quot;06f769e9ce1940f0bc95d7617f6584b2&quot;,&quot;CaptureId&quot;:null,&quot;Name&quot;:&quot;CoVDP_IAI report_amc&quot;,&quot;Description&quot;:null,&quot;DoNotIncludeHyperlinkToPbi&quot;:false,&quot;PbiElement&quot;:{&quot;ElementType&quot;:3,&quot;Page&quot;:{&quot;Name&quot;:&quot;ReportSection383342b5a9029c74bad0&quot;,&quot;DisplayName&quot;:&quot;csc_sum_absorption&quot;,&quot;Visuals&quot;:null,&quot;SavedFilters&quot;:null,&quot;FilterSettings&quot;:null},&quot;SavedBookmark&quot;:null,&quot;SelectedBookmark&quot;:null,&quot;BaseSlicers&quot;:null,&quot;SavedSlicers&quot;:null,&quot;Name&quot;:&quot;CoVDP_IAI report_amc&quot;,&quot;Id&quot;:&quot;6f5b9871-1fe8-4132-90a6-2e12aab0d75d&quot;,&quot;Title&quot;:&quot;CoVDP_IAI report_amc&quot;,&quot;EmbedUrl&quot;:&quot;https://app.powerbi.com/reportEmbed?reportId=6f5b9871-1fe8-4132-90a6-2e12aab0d75d&amp;groupId=74edb552-9095-494d-bb31-abbedd32af99&amp;w=2&amp;config=eyJjbHVzdGVyVXJsIjoiaHR0cHM6Ly9XQUJJLU5PUlRILUVVUk9QRS1HLVBSSU1BUlktcmVkaXJlY3QuYW5hbHlzaXMud2luZG93cy5uZXQiLCJlbWJlZEZlYXR1cmVzIjp7Im1vZGVybkVtYmVkIjp0cnVlLCJ1c2FnZU1ldHJpY3NWTmV4dCI6dHJ1ZSwic2tpcFF1ZXJ5RGF0YVNhYVNFbWJlZCI6dHJ1ZSwic2tpcFF1ZXJ5RGF0YVBhYVNFbWJlZCI6dHJ1ZSwic2tpcFF1ZXJ5RGF0YUV4cG9ydFRvIjp0cnVlfX0%3d&quot;,&quot;WebUrl&quot;:&quot;https://app.powerbi.com/groups/74edb552-9095-494d-bb31-abbedd32af99/reports/6f5b9871-1fe8-4132-90a6-2e12aab0d75d&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920, 1080&quot;,&quot;LastRenderScale&quot;:2.0,&quot;LastRenderStatus&quot;:5,&quot;LastRenderStatusMessage&quot;:&quot;&quot;},&quot;ShapeType&quot;:0,&quot;ShapeWidth&quot;:2560,&quot;ShapeHeight&quot;:1439}"/>
</p:tagLst>
</file>

<file path=ppt/tags/tag274.xml><?xml version="1.0" encoding="utf-8"?>
<p:tagLst xmlns:a="http://schemas.openxmlformats.org/drawingml/2006/main" xmlns:r="http://schemas.openxmlformats.org/officeDocument/2006/relationships" xmlns:p="http://schemas.openxmlformats.org/presentationml/2006/main">
  <p:tag name="DEVSCOPEPBISMARTSHAPES.TAG" val="{&quot;Id&quot;:&quot;005db56ef8854747988d55fc6da8fffa&quot;,&quot;CaptureId&quot;:null,&quot;Name&quot;:&quot;CoVDP_IAI report_amc&quot;,&quot;Description&quot;:null,&quot;DoNotIncludeHyperlinkToPbi&quot;:false,&quot;PbiElement&quot;:{&quot;ElementType&quot;:3,&quot;Page&quot;:{&quot;Name&quot;:&quot;ReportSection481680a8506bd397e4cd&quot;,&quot;DisplayName&quot;:&quot;csc_funnel_1&quot;,&quot;Visuals&quot;:null,&quot;SavedFilters&quot;:null,&quot;FilterSettings&quot;:null},&quot;SavedBookmark&quot;:null,&quot;SelectedBookmark&quot;:null,&quot;BaseSlicers&quot;:null,&quot;SavedSlicers&quot;:null,&quot;Name&quot;:&quot;CoVDP_IAI report_amc&quot;,&quot;Id&quot;:&quot;6f5b9871-1fe8-4132-90a6-2e12aab0d75d&quot;,&quot;Title&quot;:&quot;CoVDP_IAI report_amc&quot;,&quot;EmbedUrl&quot;:&quot;https://app.powerbi.com/reportEmbed?reportId=6f5b9871-1fe8-4132-90a6-2e12aab0d75d&amp;groupId=74edb552-9095-494d-bb31-abbedd32af99&amp;w=2&amp;config=eyJjbHVzdGVyVXJsIjoiaHR0cHM6Ly9XQUJJLU5PUlRILUVVUk9QRS1HLVBSSU1BUlktcmVkaXJlY3QuYW5hbHlzaXMud2luZG93cy5uZXQiLCJlbWJlZEZlYXR1cmVzIjp7Im1vZGVybkVtYmVkIjp0cnVlLCJ1c2FnZU1ldHJpY3NWTmV4dCI6dHJ1ZSwic2tpcFF1ZXJ5RGF0YVNhYVNFbWJlZCI6dHJ1ZSwic2tpcFF1ZXJ5RGF0YVBhYVNFbWJlZCI6dHJ1ZSwic2tpcFF1ZXJ5RGF0YUV4cG9ydFRvIjp0cnVlfX0%3d&quot;,&quot;WebUrl&quot;:&quot;https://app.powerbi.com/groups/74edb552-9095-494d-bb31-abbedd32af99/reports/6f5b9871-1fe8-4132-90a6-2e12aab0d75d&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920, 1080&quot;,&quot;LastRenderScale&quot;:2.0,&quot;LastRenderStatus&quot;:5,&quot;LastRenderStatusMessage&quot;:&quot;&quot;},&quot;ShapeType&quot;:0,&quot;ShapeWidth&quot;:2560,&quot;ShapeHeight&quot;:1439}"/>
</p:tagLst>
</file>

<file path=ppt/tags/tag275.xml><?xml version="1.0" encoding="utf-8"?>
<p:tagLst xmlns:a="http://schemas.openxmlformats.org/drawingml/2006/main" xmlns:r="http://schemas.openxmlformats.org/officeDocument/2006/relationships" xmlns:p="http://schemas.openxmlformats.org/presentationml/2006/main">
  <p:tag name="DEVSCOPEPBISMARTSHAPES.TAG" val="{&quot;Id&quot;:&quot;489428540df9433dbe7c3858e1dc4cff&quot;,&quot;CaptureId&quot;:null,&quot;Name&quot;:&quot;CoVDP_IAI report_amc&quot;,&quot;Description&quot;:null,&quot;DoNotIncludeHyperlinkToPbi&quot;:false,&quot;PbiElement&quot;:{&quot;ElementType&quot;:3,&quot;Page&quot;:{&quot;Name&quot;:&quot;ReportSection11ca06d720dc4697110d&quot;,&quot;DisplayName&quot;:&quot;csc_funnel_2&quot;,&quot;Visuals&quot;:null,&quot;SavedFilters&quot;:null,&quot;FilterSettings&quot;:null},&quot;SavedBookmark&quot;:null,&quot;SelectedBookmark&quot;:null,&quot;BaseSlicers&quot;:null,&quot;SavedSlicers&quot;:null,&quot;Name&quot;:&quot;CoVDP_IAI report_amc&quot;,&quot;Id&quot;:&quot;6f5b9871-1fe8-4132-90a6-2e12aab0d75d&quot;,&quot;Title&quot;:&quot;CoVDP_IAI report_amc&quot;,&quot;EmbedUrl&quot;:&quot;https://app.powerbi.com/reportEmbed?reportId=6f5b9871-1fe8-4132-90a6-2e12aab0d75d&amp;groupId=74edb552-9095-494d-bb31-abbedd32af99&amp;w=2&amp;config=eyJjbHVzdGVyVXJsIjoiaHR0cHM6Ly9XQUJJLU5PUlRILUVVUk9QRS1HLVBSSU1BUlktcmVkaXJlY3QuYW5hbHlzaXMud2luZG93cy5uZXQiLCJlbWJlZEZlYXR1cmVzIjp7Im1vZGVybkVtYmVkIjp0cnVlLCJ1c2FnZU1ldHJpY3NWTmV4dCI6dHJ1ZSwic2tpcFF1ZXJ5RGF0YVNhYVNFbWJlZCI6dHJ1ZSwic2tpcFF1ZXJ5RGF0YVBhYVNFbWJlZCI6dHJ1ZSwic2tpcFF1ZXJ5RGF0YUV4cG9ydFRvIjp0cnVlfX0%3d&quot;,&quot;WebUrl&quot;:&quot;https://app.powerbi.com/groups/74edb552-9095-494d-bb31-abbedd32af99/reports/6f5b9871-1fe8-4132-90a6-2e12aab0d75d&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920, 1080&quot;,&quot;LastRenderScale&quot;:2.0,&quot;LastRenderStatus&quot;:5,&quot;LastRenderStatusMessage&quot;:&quot;&quot;},&quot;ShapeType&quot;:0,&quot;ShapeWidth&quot;:2560,&quot;ShapeHeight&quot;:1439}"/>
</p:tagLst>
</file>

<file path=ppt/tags/tag276.xml><?xml version="1.0" encoding="utf-8"?>
<p:tagLst xmlns:a="http://schemas.openxmlformats.org/drawingml/2006/main" xmlns:r="http://schemas.openxmlformats.org/officeDocument/2006/relationships" xmlns:p="http://schemas.openxmlformats.org/presentationml/2006/main">
  <p:tag name="DEVSCOPEPBISMARTSHAPES.TAG" val="{&quot;Id&quot;:&quot;4f9a9f20613049d4a77e40880c43e95e&quot;,&quot;CaptureId&quot;:null,&quot;Name&quot;:&quot;CoVDP_IAI report_amc&quot;,&quot;Description&quot;:null,&quot;DoNotIncludeHyperlinkToPbi&quot;:false,&quot;PbiElement&quot;:{&quot;ElementType&quot;:3,&quot;Page&quot;:{&quot;Name&quot;:&quot;ReportSection742e50d466ab00c111e0&quot;,&quot;DisplayName&quot;:&quot;csc_cov_tot_overview&quot;,&quot;Visuals&quot;:null,&quot;SavedFilters&quot;:null,&quot;FilterSettings&quot;:null},&quot;SavedBookmark&quot;:null,&quot;SelectedBookmark&quot;:null,&quot;BaseSlicers&quot;:null,&quot;SavedSlicers&quot;:null,&quot;Name&quot;:&quot;CoVDP_IAI report_amc&quot;,&quot;Id&quot;:&quot;6f5b9871-1fe8-4132-90a6-2e12aab0d75d&quot;,&quot;Title&quot;:&quot;CoVDP_IAI report_amc&quot;,&quot;EmbedUrl&quot;:&quot;https://app.powerbi.com/reportEmbed?reportId=6f5b9871-1fe8-4132-90a6-2e12aab0d75d&amp;groupId=74edb552-9095-494d-bb31-abbedd32af99&amp;w=2&amp;config=eyJjbHVzdGVyVXJsIjoiaHR0cHM6Ly9XQUJJLU5PUlRILUVVUk9QRS1HLVBSSU1BUlktcmVkaXJlY3QuYW5hbHlzaXMud2luZG93cy5uZXQiLCJlbWJlZEZlYXR1cmVzIjp7Im1vZGVybkVtYmVkIjp0cnVlLCJ1c2FnZU1ldHJpY3NWTmV4dCI6dHJ1ZSwic2tpcFF1ZXJ5RGF0YVNhYVNFbWJlZCI6dHJ1ZSwic2tpcFF1ZXJ5RGF0YVBhYVNFbWJlZCI6dHJ1ZSwic2tpcFF1ZXJ5RGF0YUV4cG9ydFRvIjp0cnVlfX0%3d&quot;,&quot;WebUrl&quot;:&quot;https://app.powerbi.com/groups/74edb552-9095-494d-bb31-abbedd32af99/reports/6f5b9871-1fe8-4132-90a6-2e12aab0d75d&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920, 1080&quot;,&quot;LastRenderScale&quot;:2.0,&quot;LastRenderStatus&quot;:5,&quot;LastRenderStatusMessage&quot;:&quot;&quot;},&quot;ShapeType&quot;:0,&quot;ShapeWidth&quot;:2560,&quot;ShapeHeight&quot;:1439}"/>
</p:tagLst>
</file>

<file path=ppt/tags/tag277.xml><?xml version="1.0" encoding="utf-8"?>
<p:tagLst xmlns:a="http://schemas.openxmlformats.org/drawingml/2006/main" xmlns:r="http://schemas.openxmlformats.org/officeDocument/2006/relationships" xmlns:p="http://schemas.openxmlformats.org/presentationml/2006/main">
  <p:tag name="DEVSCOPEPBISMARTSHAPES.TAG" val="{&quot;Id&quot;:&quot;a8ce990584c946b38b2abc893eae0ada&quot;,&quot;CaptureId&quot;:null,&quot;Name&quot;:&quot;CoVDP_IAI report_amc&quot;,&quot;Description&quot;:null,&quot;DoNotIncludeHyperlinkToPbi&quot;:false,&quot;PbiElement&quot;:{&quot;ElementType&quot;:3,&quot;Page&quot;:{&quot;Name&quot;:&quot;ReportSection3cccbe5a1c3736b880e3&quot;,&quot;DisplayName&quot;:&quot;csc_cov_tot_comp&quot;,&quot;Visuals&quot;:null,&quot;SavedFilters&quot;:null,&quot;FilterSettings&quot;:null},&quot;SavedBookmark&quot;:null,&quot;SelectedBookmark&quot;:null,&quot;BaseSlicers&quot;:null,&quot;SavedSlicers&quot;:null,&quot;Name&quot;:&quot;CoVDP_IAI report_amc&quot;,&quot;Id&quot;:&quot;6f5b9871-1fe8-4132-90a6-2e12aab0d75d&quot;,&quot;Title&quot;:&quot;CoVDP_IAI report_amc&quot;,&quot;EmbedUrl&quot;:&quot;https://app.powerbi.com/reportEmbed?reportId=6f5b9871-1fe8-4132-90a6-2e12aab0d75d&amp;groupId=74edb552-9095-494d-bb31-abbedd32af99&amp;w=2&amp;config=eyJjbHVzdGVyVXJsIjoiaHR0cHM6Ly9XQUJJLU5PUlRILUVVUk9QRS1HLVBSSU1BUlktcmVkaXJlY3QuYW5hbHlzaXMud2luZG93cy5uZXQiLCJlbWJlZEZlYXR1cmVzIjp7Im1vZGVybkVtYmVkIjp0cnVlLCJ1c2FnZU1ldHJpY3NWTmV4dCI6dHJ1ZSwic2tpcFF1ZXJ5RGF0YVNhYVNFbWJlZCI6dHJ1ZSwic2tpcFF1ZXJ5RGF0YVBhYVNFbWJlZCI6dHJ1ZSwic2tpcFF1ZXJ5RGF0YUV4cG9ydFRvIjp0cnVlfX0%3d&quot;,&quot;WebUrl&quot;:&quot;https://app.powerbi.com/groups/74edb552-9095-494d-bb31-abbedd32af99/reports/6f5b9871-1fe8-4132-90a6-2e12aab0d75d&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920, 1080&quot;,&quot;LastRenderScale&quot;:2.0,&quot;LastRenderStatus&quot;:5,&quot;LastRenderStatusMessage&quot;:&quot;&quot;},&quot;ShapeType&quot;:0,&quot;ShapeWidth&quot;:2560,&quot;ShapeHeight&quot;:1439}"/>
</p:tagLst>
</file>

<file path=ppt/tags/tag278.xml><?xml version="1.0" encoding="utf-8"?>
<p:tagLst xmlns:a="http://schemas.openxmlformats.org/drawingml/2006/main" xmlns:r="http://schemas.openxmlformats.org/officeDocument/2006/relationships" xmlns:p="http://schemas.openxmlformats.org/presentationml/2006/main">
  <p:tag name="DEVSCOPEPBISMARTSHAPES.TAG" val="{&quot;Id&quot;:&quot;55e2982899e54293a198c4d5eed8f267&quot;,&quot;CaptureId&quot;:null,&quot;Name&quot;:&quot;CoVDP_IAI report_amc&quot;,&quot;Description&quot;:null,&quot;DoNotIncludeHyperlinkToPbi&quot;:false,&quot;PbiElement&quot;:{&quot;ElementType&quot;:3,&quot;Page&quot;:{&quot;Name&quot;:&quot;ReportSectiond5904010b5eb20710897&quot;,&quot;DisplayName&quot;:&quot;csc_cov_tot_disag&quot;,&quot;Visuals&quot;:null,&quot;SavedFilters&quot;:null,&quot;FilterSettings&quot;:null},&quot;SavedBookmark&quot;:null,&quot;SelectedBookmark&quot;:null,&quot;BaseSlicers&quot;:null,&quot;SavedSlicers&quot;:null,&quot;Name&quot;:&quot;CoVDP_IAI report_amc&quot;,&quot;Id&quot;:&quot;6f5b9871-1fe8-4132-90a6-2e12aab0d75d&quot;,&quot;Title&quot;:&quot;CoVDP_IAI report_amc&quot;,&quot;EmbedUrl&quot;:&quot;https://app.powerbi.com/reportEmbed?reportId=6f5b9871-1fe8-4132-90a6-2e12aab0d75d&amp;groupId=74edb552-9095-494d-bb31-abbedd32af99&amp;w=2&amp;config=eyJjbHVzdGVyVXJsIjoiaHR0cHM6Ly9XQUJJLU5PUlRILUVVUk9QRS1HLVBSSU1BUlktcmVkaXJlY3QuYW5hbHlzaXMud2luZG93cy5uZXQiLCJlbWJlZEZlYXR1cmVzIjp7Im1vZGVybkVtYmVkIjp0cnVlLCJ1c2FnZU1ldHJpY3NWTmV4dCI6dHJ1ZSwic2tpcFF1ZXJ5RGF0YVNhYVNFbWJlZCI6dHJ1ZSwic2tpcFF1ZXJ5RGF0YVBhYVNFbWJlZCI6dHJ1ZSwic2tpcFF1ZXJ5RGF0YUV4cG9ydFRvIjp0cnVlfX0%3d&quot;,&quot;WebUrl&quot;:&quot;https://app.powerbi.com/groups/74edb552-9095-494d-bb31-abbedd32af99/reports/6f5b9871-1fe8-4132-90a6-2e12aab0d75d&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920, 1080&quot;,&quot;LastRenderScale&quot;:2.0,&quot;LastRenderStatus&quot;:5,&quot;LastRenderStatusMessage&quot;:&quot;&quot;},&quot;ShapeType&quot;:0,&quot;ShapeWidth&quot;:2560,&quot;ShapeHeight&quot;:1439}"/>
</p:tagLst>
</file>

<file path=ppt/tags/tag279.xml><?xml version="1.0" encoding="utf-8"?>
<p:tagLst xmlns:a="http://schemas.openxmlformats.org/drawingml/2006/main" xmlns:r="http://schemas.openxmlformats.org/officeDocument/2006/relationships" xmlns:p="http://schemas.openxmlformats.org/presentationml/2006/main">
  <p:tag name="DEVSCOPEPBISMARTSHAPES.TAG" val="{&quot;Id&quot;:&quot;d040ea6a3c5c4f5493bd098b30e08b1d&quot;,&quot;CaptureId&quot;:null,&quot;Name&quot;:&quot;CoVDP_IAI report_amc&quot;,&quot;Description&quot;:null,&quot;DoNotIncludeHyperlinkToPbi&quot;:false,&quot;PbiElement&quot;:{&quot;ElementType&quot;:3,&quot;Page&quot;:{&quot;Name&quot;:&quot;ReportSection29e0cff6ca7d9a454509&quot;,&quot;DisplayName&quot;:&quot;csc_cov_hcw_overview&quot;,&quot;Visuals&quot;:null,&quot;SavedFilters&quot;:null,&quot;FilterSettings&quot;:null},&quot;SavedBookmark&quot;:null,&quot;SelectedBookmark&quot;:null,&quot;BaseSlicers&quot;:null,&quot;SavedSlicers&quot;:null,&quot;Name&quot;:&quot;CoVDP_IAI report_amc&quot;,&quot;Id&quot;:&quot;6f5b9871-1fe8-4132-90a6-2e12aab0d75d&quot;,&quot;Title&quot;:&quot;CoVDP_IAI report_amc&quot;,&quot;EmbedUrl&quot;:&quot;https://app.powerbi.com/reportEmbed?reportId=6f5b9871-1fe8-4132-90a6-2e12aab0d75d&amp;groupId=74edb552-9095-494d-bb31-abbedd32af99&amp;w=2&amp;config=eyJjbHVzdGVyVXJsIjoiaHR0cHM6Ly9XQUJJLU5PUlRILUVVUk9QRS1HLVBSSU1BUlktcmVkaXJlY3QuYW5hbHlzaXMud2luZG93cy5uZXQiLCJlbWJlZEZlYXR1cmVzIjp7Im1vZGVybkVtYmVkIjp0cnVlLCJ1c2FnZU1ldHJpY3NWTmV4dCI6dHJ1ZSwic2tpcFF1ZXJ5RGF0YVNhYVNFbWJlZCI6dHJ1ZSwic2tpcFF1ZXJ5RGF0YVBhYVNFbWJlZCI6dHJ1ZSwic2tpcFF1ZXJ5RGF0YUV4cG9ydFRvIjp0cnVlfX0%3d&quot;,&quot;WebUrl&quot;:&quot;https://app.powerbi.com/groups/74edb552-9095-494d-bb31-abbedd32af99/reports/6f5b9871-1fe8-4132-90a6-2e12aab0d75d&quot;,&quot;RenderSettings&quot;:{&quot;AbsoluteHeightEnabled&quot;:true,&quot;AbsoluteWidthEnabled&quot;:true,&quot;AbsoluteHeight&quot;:1080.0,&quot;AbsoluteWidth&quot;:1920.0,&quot;DelayBeforeRender&quot;:10000.0,&quot;DelayBeforeRenderEnabled&quot;:false,&quot;UserControlledWaitDelayEnabled&quot;:false,&quot;ViewResize&quot;:0,&quot;TimeStamp&quot;:{&quot;Enabled&quot;:false}},&quot;Parent&quot;:null,&quot;LastRenderedSize&quot;:&quot;1920, 1080&quot;,&quot;LastRenderScale&quot;:2.0,&quot;LastRenderStatus&quot;:5,&quot;LastRenderStatusMessage&quot;:&quot;&quot;},&quot;ShapeType&quot;:0,&quot;ShapeWidth&quot;:2560,&quot;ShapeHeight&quot;:1439}"/>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0.xml><?xml version="1.0" encoding="utf-8"?>
<p:tagLst xmlns:a="http://schemas.openxmlformats.org/drawingml/2006/main" xmlns:r="http://schemas.openxmlformats.org/officeDocument/2006/relationships" xmlns:p="http://schemas.openxmlformats.org/presentationml/2006/main">
  <p:tag name="DEVSCOPEPBISMARTSHAPES.TAG" val="{&quot;Id&quot;:&quot;71ee61aa42654e6592cc215b739dd49f&quot;,&quot;CaptureId&quot;:null,&quot;Name&quot;:&quot;CoVDP_IAI report_amc&quot;,&quot;Description&quot;:null,&quot;DoNotIncludeHyperlinkToPbi&quot;:false,&quot;PbiElement&quot;:{&quot;ElementType&quot;:3,&quot;Page&quot;:{&quot;Name&quot;:&quot;ReportSection4a9c7d4aa0e6b124cec8&quot;,&quot;DisplayName&quot;:&quot;csc_cov_hcw_scatter&quot;,&quot;Visuals&quot;:null,&quot;SavedFilters&quot;:null,&quot;FilterSettings&quot;:null},&quot;SavedBookmark&quot;:null,&quot;SelectedBookmark&quot;:null,&quot;BaseSlicers&quot;:null,&quot;SavedSlicers&quot;:null,&quot;Name&quot;:&quot;CoVDP_IAI report_amc&quot;,&quot;Id&quot;:&quot;6f5b9871-1fe8-4132-90a6-2e12aab0d75d&quot;,&quot;Title&quot;:&quot;CoVDP_IAI report_amc&quot;,&quot;EmbedUrl&quot;:&quot;https://app.powerbi.com/reportEmbed?reportId=6f5b9871-1fe8-4132-90a6-2e12aab0d75d&amp;groupId=74edb552-9095-494d-bb31-abbedd32af99&amp;w=2&amp;config=eyJjbHVzdGVyVXJsIjoiaHR0cHM6Ly9XQUJJLU5PUlRILUVVUk9QRS1HLVBSSU1BUlktcmVkaXJlY3QuYW5hbHlzaXMud2luZG93cy5uZXQiLCJlbWJlZEZlYXR1cmVzIjp7Im1vZGVybkVtYmVkIjp0cnVlLCJ1c2FnZU1ldHJpY3NWTmV4dCI6dHJ1ZSwic2tpcFF1ZXJ5RGF0YVNhYVNFbWJlZCI6dHJ1ZSwic2tpcFF1ZXJ5RGF0YVBhYVNFbWJlZCI6dHJ1ZSwic2tpcFF1ZXJ5RGF0YUV4cG9ydFRvIjp0cnVlfX0%3d&quot;,&quot;WebUrl&quot;:&quot;https://app.powerbi.com/groups/74edb552-9095-494d-bb31-abbedd32af99/reports/6f5b9871-1fe8-4132-90a6-2e12aab0d75d&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920, 1080&quot;,&quot;LastRenderScale&quot;:2.0,&quot;LastRenderStatus&quot;:5,&quot;LastRenderStatusMessage&quot;:&quot;&quot;},&quot;ShapeType&quot;:0,&quot;ShapeWidth&quot;:2560,&quot;ShapeHeight&quot;:1439}"/>
</p:tagLst>
</file>

<file path=ppt/tags/tag281.xml><?xml version="1.0" encoding="utf-8"?>
<p:tagLst xmlns:a="http://schemas.openxmlformats.org/drawingml/2006/main" xmlns:r="http://schemas.openxmlformats.org/officeDocument/2006/relationships" xmlns:p="http://schemas.openxmlformats.org/presentationml/2006/main">
  <p:tag name="DEVSCOPEPBISMARTSHAPES.TAG" val="{&quot;Id&quot;:&quot;6002c635ea79459283ae31369a921a6c&quot;,&quot;CaptureId&quot;:null,&quot;Name&quot;:&quot;CoVDP_IAI report_amc&quot;,&quot;Description&quot;:null,&quot;DoNotIncludeHyperlinkToPbi&quot;:false,&quot;PbiElement&quot;:{&quot;ElementType&quot;:3,&quot;Page&quot;:{&quot;Name&quot;:&quot;ReportSection673a90d422e5edac4605&quot;,&quot;DisplayName&quot;:&quot;csc_cov_hcw_all&quot;,&quot;Visuals&quot;:null,&quot;SavedFilters&quot;:null,&quot;FilterSettings&quot;:null},&quot;SavedBookmark&quot;:null,&quot;SelectedBookmark&quot;:null,&quot;BaseSlicers&quot;:null,&quot;SavedSlicers&quot;:null,&quot;Name&quot;:&quot;CoVDP_IAI report_amc&quot;,&quot;Id&quot;:&quot;6f5b9871-1fe8-4132-90a6-2e12aab0d75d&quot;,&quot;Title&quot;:&quot;CoVDP_IAI report_amc&quot;,&quot;EmbedUrl&quot;:&quot;https://app.powerbi.com/reportEmbed?reportId=6f5b9871-1fe8-4132-90a6-2e12aab0d75d&amp;groupId=74edb552-9095-494d-bb31-abbedd32af99&amp;w=2&amp;config=eyJjbHVzdGVyVXJsIjoiaHR0cHM6Ly9XQUJJLU5PUlRILUVVUk9QRS1HLVBSSU1BUlktcmVkaXJlY3QuYW5hbHlzaXMud2luZG93cy5uZXQiLCJlbWJlZEZlYXR1cmVzIjp7Im1vZGVybkVtYmVkIjp0cnVlLCJ1c2FnZU1ldHJpY3NWTmV4dCI6dHJ1ZSwic2tpcFF1ZXJ5RGF0YVNhYVNFbWJlZCI6dHJ1ZSwic2tpcFF1ZXJ5RGF0YVBhYVNFbWJlZCI6dHJ1ZSwic2tpcFF1ZXJ5RGF0YUV4cG9ydFRvIjp0cnVlfX0%3d&quot;,&quot;WebUrl&quot;:&quot;https://app.powerbi.com/groups/74edb552-9095-494d-bb31-abbedd32af99/reports/6f5b9871-1fe8-4132-90a6-2e12aab0d75d&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920, 1080&quot;,&quot;LastRenderScale&quot;:2.0,&quot;LastRenderStatus&quot;:5,&quot;LastRenderStatusMessage&quot;:&quot;&quot;},&quot;ShapeType&quot;:0,&quot;ShapeWidth&quot;:2560,&quot;ShapeHeight&quot;:1439}"/>
</p:tagLst>
</file>

<file path=ppt/tags/tag282.xml><?xml version="1.0" encoding="utf-8"?>
<p:tagLst xmlns:a="http://schemas.openxmlformats.org/drawingml/2006/main" xmlns:r="http://schemas.openxmlformats.org/officeDocument/2006/relationships" xmlns:p="http://schemas.openxmlformats.org/presentationml/2006/main">
  <p:tag name="DEVSCOPEPBISMARTSHAPES.TAG" val="{&quot;Id&quot;:&quot;14479248c55e4af4b634b090ea32ac33&quot;,&quot;CaptureId&quot;:null,&quot;Name&quot;:&quot;CoVDP_IAI report_amc&quot;,&quot;Description&quot;:null,&quot;DoNotIncludeHyperlinkToPbi&quot;:false,&quot;PbiElement&quot;:{&quot;ElementType&quot;:3,&quot;Page&quot;:{&quot;Name&quot;:&quot;ReportSection4301ca1a08890d712a8a&quot;,&quot;DisplayName&quot;:&quot;csc_cov_old_overview&quot;,&quot;Visuals&quot;:null,&quot;SavedFilters&quot;:null,&quot;FilterSettings&quot;:null},&quot;SavedBookmark&quot;:null,&quot;SelectedBookmark&quot;:null,&quot;BaseSlicers&quot;:null,&quot;SavedSlicers&quot;:null,&quot;Name&quot;:&quot;CoVDP_IAI report_amc&quot;,&quot;Id&quot;:&quot;6f5b9871-1fe8-4132-90a6-2e12aab0d75d&quot;,&quot;Title&quot;:&quot;CoVDP_IAI report_amc&quot;,&quot;EmbedUrl&quot;:&quot;https://app.powerbi.com/reportEmbed?reportId=6f5b9871-1fe8-4132-90a6-2e12aab0d75d&amp;groupId=74edb552-9095-494d-bb31-abbedd32af99&amp;w=2&amp;config=eyJjbHVzdGVyVXJsIjoiaHR0cHM6Ly9XQUJJLU5PUlRILUVVUk9QRS1HLVBSSU1BUlktcmVkaXJlY3QuYW5hbHlzaXMud2luZG93cy5uZXQiLCJlbWJlZEZlYXR1cmVzIjp7Im1vZGVybkVtYmVkIjp0cnVlLCJ1c2FnZU1ldHJpY3NWTmV4dCI6dHJ1ZSwic2tpcFF1ZXJ5RGF0YVNhYVNFbWJlZCI6dHJ1ZSwic2tpcFF1ZXJ5RGF0YVBhYVNFbWJlZCI6dHJ1ZSwic2tpcFF1ZXJ5RGF0YUV4cG9ydFRvIjp0cnVlfX0%3d&quot;,&quot;WebUrl&quot;:&quot;https://app.powerbi.com/groups/74edb552-9095-494d-bb31-abbedd32af99/reports/6f5b9871-1fe8-4132-90a6-2e12aab0d75d&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920, 1080&quot;,&quot;LastRenderScale&quot;:2.0,&quot;LastRenderStatus&quot;:5,&quot;LastRenderStatusMessage&quot;:&quot;&quot;},&quot;ShapeType&quot;:0,&quot;ShapeWidth&quot;:1920,&quot;ShapeHeight&quot;:1080}"/>
</p:tagLst>
</file>

<file path=ppt/tags/tag283.xml><?xml version="1.0" encoding="utf-8"?>
<p:tagLst xmlns:a="http://schemas.openxmlformats.org/drawingml/2006/main" xmlns:r="http://schemas.openxmlformats.org/officeDocument/2006/relationships" xmlns:p="http://schemas.openxmlformats.org/presentationml/2006/main">
  <p:tag name="DEVSCOPEPBISMARTSHAPES.TAG" val="{&quot;Id&quot;:&quot;b0757ad8a3af426a8b45dbcccb010e45&quot;,&quot;CaptureId&quot;:null,&quot;Name&quot;:&quot;CoVDP_IAI report_amc&quot;,&quot;Description&quot;:null,&quot;DoNotIncludeHyperlinkToPbi&quot;:false,&quot;PbiElement&quot;:{&quot;ElementType&quot;:3,&quot;Page&quot;:{&quot;Name&quot;:&quot;ReportSection458709de15a4ec038506&quot;,&quot;DisplayName&quot;:&quot;csc_cov_old_scatter&quot;,&quot;Visuals&quot;:null,&quot;SavedFilters&quot;:null,&quot;FilterSettings&quot;:null},&quot;SavedBookmark&quot;:null,&quot;SelectedBookmark&quot;:null,&quot;BaseSlicers&quot;:null,&quot;SavedSlicers&quot;:null,&quot;Name&quot;:&quot;CoVDP_IAI report_amc&quot;,&quot;Id&quot;:&quot;6f5b9871-1fe8-4132-90a6-2e12aab0d75d&quot;,&quot;Title&quot;:&quot;CoVDP_IAI report_amc&quot;,&quot;EmbedUrl&quot;:&quot;https://app.powerbi.com/reportEmbed?reportId=6f5b9871-1fe8-4132-90a6-2e12aab0d75d&amp;groupId=74edb552-9095-494d-bb31-abbedd32af99&amp;w=2&amp;config=eyJjbHVzdGVyVXJsIjoiaHR0cHM6Ly9XQUJJLU5PUlRILUVVUk9QRS1HLVBSSU1BUlktcmVkaXJlY3QuYW5hbHlzaXMud2luZG93cy5uZXQiLCJlbWJlZEZlYXR1cmVzIjp7Im1vZGVybkVtYmVkIjp0cnVlLCJ1c2FnZU1ldHJpY3NWTmV4dCI6dHJ1ZSwic2tpcFF1ZXJ5RGF0YVNhYVNFbWJlZCI6dHJ1ZSwic2tpcFF1ZXJ5RGF0YVBhYVNFbWJlZCI6dHJ1ZSwic2tpcFF1ZXJ5RGF0YUV4cG9ydFRvIjp0cnVlfX0%3d&quot;,&quot;WebUrl&quot;:&quot;https://app.powerbi.com/groups/74edb552-9095-494d-bb31-abbedd32af99/reports/6f5b9871-1fe8-4132-90a6-2e12aab0d75d&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920, 1080&quot;,&quot;LastRenderScale&quot;:2.0,&quot;LastRenderStatus&quot;:5,&quot;LastRenderStatusMessage&quot;:&quot;&quot;},&quot;ShapeType&quot;:0,&quot;ShapeWidth&quot;:2560,&quot;ShapeHeight&quot;:1439}"/>
</p:tagLst>
</file>

<file path=ppt/tags/tag284.xml><?xml version="1.0" encoding="utf-8"?>
<p:tagLst xmlns:a="http://schemas.openxmlformats.org/drawingml/2006/main" xmlns:r="http://schemas.openxmlformats.org/officeDocument/2006/relationships" xmlns:p="http://schemas.openxmlformats.org/presentationml/2006/main">
  <p:tag name="DEVSCOPEPBISMARTSHAPES.TAG" val="{&quot;Id&quot;:&quot;0b422e9aa1b84aeda40a3a6529da5cb7&quot;,&quot;CaptureId&quot;:null,&quot;Name&quot;:&quot;CoVDP_IAI report_amc&quot;,&quot;Description&quot;:null,&quot;DoNotIncludeHyperlinkToPbi&quot;:false,&quot;PbiElement&quot;:{&quot;ElementType&quot;:3,&quot;Page&quot;:{&quot;Name&quot;:&quot;ReportSection48794cdf64e04a65e309&quot;,&quot;DisplayName&quot;:&quot;csc_cov_old_all&quot;,&quot;Visuals&quot;:null,&quot;SavedFilters&quot;:null,&quot;FilterSettings&quot;:null},&quot;SavedBookmark&quot;:null,&quot;SelectedBookmark&quot;:null,&quot;BaseSlicers&quot;:null,&quot;SavedSlicers&quot;:null,&quot;Name&quot;:&quot;CoVDP_IAI report_amc&quot;,&quot;Id&quot;:&quot;6f5b9871-1fe8-4132-90a6-2e12aab0d75d&quot;,&quot;Title&quot;:&quot;CoVDP_IAI report_amc&quot;,&quot;EmbedUrl&quot;:&quot;https://app.powerbi.com/reportEmbed?reportId=6f5b9871-1fe8-4132-90a6-2e12aab0d75d&amp;groupId=74edb552-9095-494d-bb31-abbedd32af99&amp;w=2&amp;config=eyJjbHVzdGVyVXJsIjoiaHR0cHM6Ly9XQUJJLU5PUlRILUVVUk9QRS1HLVBSSU1BUlktcmVkaXJlY3QuYW5hbHlzaXMud2luZG93cy5uZXQiLCJlbWJlZEZlYXR1cmVzIjp7Im1vZGVybkVtYmVkIjp0cnVlLCJ1c2FnZU1ldHJpY3NWTmV4dCI6dHJ1ZSwic2tpcFF1ZXJ5RGF0YVNhYVNFbWJlZCI6dHJ1ZSwic2tpcFF1ZXJ5RGF0YVBhYVNFbWJlZCI6dHJ1ZSwic2tpcFF1ZXJ5RGF0YUV4cG9ydFRvIjp0cnVlfX0%3d&quot;,&quot;WebUrl&quot;:&quot;https://app.powerbi.com/groups/74edb552-9095-494d-bb31-abbedd32af99/reports/6f5b9871-1fe8-4132-90a6-2e12aab0d75d&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920, 1080&quot;,&quot;LastRenderScale&quot;:2.0,&quot;LastRenderStatus&quot;:5,&quot;LastRenderStatusMessage&quot;:&quot;&quot;},&quot;ShapeType&quot;:0,&quot;ShapeWidth&quot;:2560,&quot;ShapeHeight&quot;:1439}"/>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SHAPENAME" val="5. Source"/>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SHAPENAME" val="5. Sourc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SHAPENAME" val="5. Sourc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5. Sourc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SHAPENAME" val="5. Sourc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SHAPENAME" val="5. Sourc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5. Sourc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SHAPENAME" val="5. Sourc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a:themeElements>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Presentation10" id="{380BFB42-4FEF-7641-AF17-9A92153CD69B}" vid="{B8C5F178-E533-2F49-8BF7-EFCE41155F35}"/>
    </a:ext>
  </a:extLst>
</a:theme>
</file>

<file path=ppt/theme/theme2.xml><?xml version="1.0" encoding="utf-8"?>
<a:theme xmlns:a="http://schemas.openxmlformats.org/drawingml/2006/main" name="2_White">
  <a:themeElements>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Presentation10" id="{380BFB42-4FEF-7641-AF17-9A92153CD69B}" vid="{2CB9C542-A396-534A-8EDD-FE7F17BFA049}"/>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F87334A6AC30D4EA6021977FA7E2445" ma:contentTypeVersion="13" ma:contentTypeDescription="Create a new document." ma:contentTypeScope="" ma:versionID="13eff9136b4917bb459ad9c1db870f6d">
  <xsd:schema xmlns:xsd="http://www.w3.org/2001/XMLSchema" xmlns:xs="http://www.w3.org/2001/XMLSchema" xmlns:p="http://schemas.microsoft.com/office/2006/metadata/properties" xmlns:ns2="b370a6fa-a798-42e0-969d-19c284d8683f" xmlns:ns3="62ca1376-8bea-4949-825e-fec085c3924e" targetNamespace="http://schemas.microsoft.com/office/2006/metadata/properties" ma:root="true" ma:fieldsID="60e7197df19c7150b1ba0c3bfe00adf4" ns2:_="" ns3:_="">
    <xsd:import namespace="b370a6fa-a798-42e0-969d-19c284d8683f"/>
    <xsd:import namespace="62ca1376-8bea-4949-825e-fec085c3924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LengthInSeconds" minOccurs="0"/>
                <xsd:element ref="ns3:SharedWithUsers" minOccurs="0"/>
                <xsd:element ref="ns3:SharedWithDetail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370a6fa-a798-42e0-969d-19c284d8683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2ca1376-8bea-4949-825e-fec085c3924e"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0BBB5D0-70E9-4F65-A29F-3428D683A077}">
  <ds:schemaRefs>
    <ds:schemaRef ds:uri="http://schemas.microsoft.com/sharepoint/v3/contenttype/forms"/>
  </ds:schemaRefs>
</ds:datastoreItem>
</file>

<file path=customXml/itemProps2.xml><?xml version="1.0" encoding="utf-8"?>
<ds:datastoreItem xmlns:ds="http://schemas.openxmlformats.org/officeDocument/2006/customXml" ds:itemID="{04F9A6BD-6376-4A76-8B4C-1D559ECE39BF}">
  <ds:schemaRefs>
    <ds:schemaRef ds:uri="62ca1376-8bea-4949-825e-fec085c3924e"/>
    <ds:schemaRef ds:uri="b370a6fa-a798-42e0-969d-19c284d8683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FBE4BB3-8341-42C3-8C04-612EF6E1C09C}">
  <ds:schemaRefs>
    <ds:schemaRef ds:uri="http://purl.org/dc/dcmitype/"/>
    <ds:schemaRef ds:uri="http://schemas.openxmlformats.org/package/2006/metadata/core-properties"/>
    <ds:schemaRef ds:uri="http://schemas.microsoft.com/office/2006/metadata/properties"/>
    <ds:schemaRef ds:uri="http://www.w3.org/XML/1998/namespace"/>
    <ds:schemaRef ds:uri="http://schemas.microsoft.com/office/2006/documentManagement/types"/>
    <ds:schemaRef ds:uri="62ca1376-8bea-4949-825e-fec085c3924e"/>
    <ds:schemaRef ds:uri="http://purl.org/dc/terms/"/>
    <ds:schemaRef ds:uri="http://schemas.microsoft.com/office/infopath/2007/PartnerControls"/>
    <ds:schemaRef ds:uri="b370a6fa-a798-42e0-969d-19c284d8683f"/>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1_White</Template>
  <TotalTime>5630</TotalTime>
  <Words>780</Words>
  <Application>Microsoft Office PowerPoint</Application>
  <PresentationFormat>Widescreen</PresentationFormat>
  <Paragraphs>228</Paragraphs>
  <Slides>45</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45</vt:i4>
      </vt:variant>
    </vt:vector>
  </HeadingPairs>
  <TitlesOfParts>
    <vt:vector size="52" baseType="lpstr">
      <vt:lpstr>Arial</vt:lpstr>
      <vt:lpstr>Calibri</vt:lpstr>
      <vt:lpstr>Segoe UI</vt:lpstr>
      <vt:lpstr>Wingdings</vt:lpstr>
      <vt:lpstr>1_White</vt:lpstr>
      <vt:lpstr>2_White</vt:lpstr>
      <vt:lpstr>think-cell Slide</vt:lpstr>
      <vt:lpstr>COVID-19 Vaccine Implementation Analysis &amp; Insights  COVID-19 Vaccine Delivery Partnership</vt:lpstr>
      <vt:lpstr>Notes &amp; disclaimer</vt:lpstr>
      <vt:lpstr>I. AMC92 portfolio analysi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I. Concerted support countries analysi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nnex 1: Country codes</vt:lpstr>
      <vt:lpstr>Annex 2: Definition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Subtitle 1 Subtitle 2</dc:title>
  <dc:subject/>
  <dc:creator>BROOKS, Donald Joseph</dc:creator>
  <cp:keywords/>
  <dc:description/>
  <cp:lastModifiedBy>PANLILIO, Jose Rafael</cp:lastModifiedBy>
  <cp:revision>37</cp:revision>
  <cp:lastPrinted>2018-10-30T20:37:12Z</cp:lastPrinted>
  <dcterms:created xsi:type="dcterms:W3CDTF">2022-01-24T09:46:40Z</dcterms:created>
  <dcterms:modified xsi:type="dcterms:W3CDTF">2022-11-11T14:29:26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1-03-05 07:11 PM</vt:lpwstr>
  </property>
  <property fmtid="{D5CDD505-2E9C-101B-9397-08002B2CF9AE}" pid="8" name="TemplateCreated">
    <vt:lpwstr>2019-02-27 01:18 PM</vt:lpwstr>
  </property>
  <property fmtid="{D5CDD505-2E9C-101B-9397-08002B2CF9AE}" pid="9" name="ContentTypeId">
    <vt:lpwstr>0x0101001F87334A6AC30D4EA6021977FA7E2445</vt:lpwstr>
  </property>
</Properties>
</file>